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5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84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96C561-BD19-807A-AEAC-CF56131E3F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think-cell data - do not delete" hidden="1">
            <a:extLst>
              <a:ext uri="{FF2B5EF4-FFF2-40B4-BE49-F238E27FC236}">
                <a16:creationId xmlns:a16="http://schemas.microsoft.com/office/drawing/2014/main" id="{05A5445F-992B-CDF9-4125-3CD31F5BAB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A5445F-992B-CDF9-4125-3CD31F5BAB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D244EA-D9FE-C9F6-0E70-E66CC0CDF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yramid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9DED32-E748-8397-7A9D-43F6B26444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07DD4DF-1CC9-3825-62DA-FC11F576ED03}"/>
              </a:ext>
            </a:extLst>
          </p:cNvPr>
          <p:cNvGrpSpPr/>
          <p:nvPr/>
        </p:nvGrpSpPr>
        <p:grpSpPr>
          <a:xfrm>
            <a:off x="1270683" y="1335480"/>
            <a:ext cx="5605703" cy="4749084"/>
            <a:chOff x="479735" y="1846769"/>
            <a:chExt cx="5102384" cy="4322671"/>
          </a:xfrm>
        </p:grpSpPr>
        <p:sp>
          <p:nvSpPr>
            <p:cNvPr id="31" name="Rectangle 5">
              <a:extLst>
                <a:ext uri="{FF2B5EF4-FFF2-40B4-BE49-F238E27FC236}">
                  <a16:creationId xmlns:a16="http://schemas.microsoft.com/office/drawing/2014/main" id="{118234F0-6F73-F55A-FDF0-63CB6D033B1C}"/>
                </a:ext>
              </a:extLst>
            </p:cNvPr>
            <p:cNvSpPr/>
            <p:nvPr/>
          </p:nvSpPr>
          <p:spPr>
            <a:xfrm>
              <a:off x="877809" y="3724790"/>
              <a:ext cx="4341025" cy="1776119"/>
            </a:xfrm>
            <a:custGeom>
              <a:avLst/>
              <a:gdLst>
                <a:gd name="connsiteX0" fmla="*/ 0 w 619125"/>
                <a:gd name="connsiteY0" fmla="*/ 0 h 406400"/>
                <a:gd name="connsiteX1" fmla="*/ 619125 w 619125"/>
                <a:gd name="connsiteY1" fmla="*/ 0 h 406400"/>
                <a:gd name="connsiteX2" fmla="*/ 619125 w 619125"/>
                <a:gd name="connsiteY2" fmla="*/ 406400 h 406400"/>
                <a:gd name="connsiteX3" fmla="*/ 0 w 619125"/>
                <a:gd name="connsiteY3" fmla="*/ 406400 h 406400"/>
                <a:gd name="connsiteX4" fmla="*/ 0 w 619125"/>
                <a:gd name="connsiteY4" fmla="*/ 0 h 406400"/>
                <a:gd name="connsiteX0" fmla="*/ 0 w 962025"/>
                <a:gd name="connsiteY0" fmla="*/ 73025 h 479425"/>
                <a:gd name="connsiteX1" fmla="*/ 962025 w 962025"/>
                <a:gd name="connsiteY1" fmla="*/ 0 h 479425"/>
                <a:gd name="connsiteX2" fmla="*/ 619125 w 962025"/>
                <a:gd name="connsiteY2" fmla="*/ 479425 h 479425"/>
                <a:gd name="connsiteX3" fmla="*/ 0 w 962025"/>
                <a:gd name="connsiteY3" fmla="*/ 479425 h 479425"/>
                <a:gd name="connsiteX4" fmla="*/ 0 w 962025"/>
                <a:gd name="connsiteY4" fmla="*/ 73025 h 479425"/>
                <a:gd name="connsiteX0" fmla="*/ 0 w 1901825"/>
                <a:gd name="connsiteY0" fmla="*/ 73025 h 479425"/>
                <a:gd name="connsiteX1" fmla="*/ 962025 w 1901825"/>
                <a:gd name="connsiteY1" fmla="*/ 0 h 479425"/>
                <a:gd name="connsiteX2" fmla="*/ 1901825 w 1901825"/>
                <a:gd name="connsiteY2" fmla="*/ 104775 h 479425"/>
                <a:gd name="connsiteX3" fmla="*/ 0 w 1901825"/>
                <a:gd name="connsiteY3" fmla="*/ 479425 h 479425"/>
                <a:gd name="connsiteX4" fmla="*/ 0 w 1901825"/>
                <a:gd name="connsiteY4" fmla="*/ 73025 h 479425"/>
                <a:gd name="connsiteX0" fmla="*/ 0 w 1901825"/>
                <a:gd name="connsiteY0" fmla="*/ 73025 h 336550"/>
                <a:gd name="connsiteX1" fmla="*/ 962025 w 1901825"/>
                <a:gd name="connsiteY1" fmla="*/ 0 h 336550"/>
                <a:gd name="connsiteX2" fmla="*/ 1901825 w 1901825"/>
                <a:gd name="connsiteY2" fmla="*/ 104775 h 336550"/>
                <a:gd name="connsiteX3" fmla="*/ 946150 w 1901825"/>
                <a:gd name="connsiteY3" fmla="*/ 336550 h 336550"/>
                <a:gd name="connsiteX4" fmla="*/ 0 w 1901825"/>
                <a:gd name="connsiteY4" fmla="*/ 73025 h 336550"/>
                <a:gd name="connsiteX0" fmla="*/ 0 w 1914525"/>
                <a:gd name="connsiteY0" fmla="*/ 76200 h 339725"/>
                <a:gd name="connsiteX1" fmla="*/ 962025 w 1914525"/>
                <a:gd name="connsiteY1" fmla="*/ 3175 h 339725"/>
                <a:gd name="connsiteX2" fmla="*/ 1914525 w 1914525"/>
                <a:gd name="connsiteY2" fmla="*/ 0 h 339725"/>
                <a:gd name="connsiteX3" fmla="*/ 946150 w 1914525"/>
                <a:gd name="connsiteY3" fmla="*/ 339725 h 339725"/>
                <a:gd name="connsiteX4" fmla="*/ 0 w 1914525"/>
                <a:gd name="connsiteY4" fmla="*/ 76200 h 339725"/>
                <a:gd name="connsiteX0" fmla="*/ 0 w 1895475"/>
                <a:gd name="connsiteY0" fmla="*/ 73025 h 336550"/>
                <a:gd name="connsiteX1" fmla="*/ 962025 w 1895475"/>
                <a:gd name="connsiteY1" fmla="*/ 0 h 336550"/>
                <a:gd name="connsiteX2" fmla="*/ 1895475 w 1895475"/>
                <a:gd name="connsiteY2" fmla="*/ 101600 h 336550"/>
                <a:gd name="connsiteX3" fmla="*/ 946150 w 1895475"/>
                <a:gd name="connsiteY3" fmla="*/ 336550 h 336550"/>
                <a:gd name="connsiteX4" fmla="*/ 0 w 1895475"/>
                <a:gd name="connsiteY4" fmla="*/ 73025 h 336550"/>
                <a:gd name="connsiteX0" fmla="*/ 0 w 2189717"/>
                <a:gd name="connsiteY0" fmla="*/ 249314 h 512839"/>
                <a:gd name="connsiteX1" fmla="*/ 962025 w 2189717"/>
                <a:gd name="connsiteY1" fmla="*/ 176289 h 512839"/>
                <a:gd name="connsiteX2" fmla="*/ 2189717 w 2189717"/>
                <a:gd name="connsiteY2" fmla="*/ 0 h 512839"/>
                <a:gd name="connsiteX3" fmla="*/ 946150 w 2189717"/>
                <a:gd name="connsiteY3" fmla="*/ 512839 h 512839"/>
                <a:gd name="connsiteX4" fmla="*/ 0 w 2189717"/>
                <a:gd name="connsiteY4" fmla="*/ 249314 h 512839"/>
                <a:gd name="connsiteX0" fmla="*/ 0 w 2203729"/>
                <a:gd name="connsiteY0" fmla="*/ 244682 h 508207"/>
                <a:gd name="connsiteX1" fmla="*/ 962025 w 2203729"/>
                <a:gd name="connsiteY1" fmla="*/ 171657 h 508207"/>
                <a:gd name="connsiteX2" fmla="*/ 2203729 w 2203729"/>
                <a:gd name="connsiteY2" fmla="*/ 0 h 508207"/>
                <a:gd name="connsiteX3" fmla="*/ 946150 w 2203729"/>
                <a:gd name="connsiteY3" fmla="*/ 508207 h 508207"/>
                <a:gd name="connsiteX4" fmla="*/ 0 w 2203729"/>
                <a:gd name="connsiteY4" fmla="*/ 244682 h 508207"/>
                <a:gd name="connsiteX0" fmla="*/ 0 w 2490966"/>
                <a:gd name="connsiteY0" fmla="*/ 0 h 513625"/>
                <a:gd name="connsiteX1" fmla="*/ 1249262 w 2490966"/>
                <a:gd name="connsiteY1" fmla="*/ 177075 h 513625"/>
                <a:gd name="connsiteX2" fmla="*/ 2490966 w 2490966"/>
                <a:gd name="connsiteY2" fmla="*/ 5418 h 513625"/>
                <a:gd name="connsiteX3" fmla="*/ 1233387 w 2490966"/>
                <a:gd name="connsiteY3" fmla="*/ 513625 h 513625"/>
                <a:gd name="connsiteX4" fmla="*/ 0 w 2490966"/>
                <a:gd name="connsiteY4" fmla="*/ 0 h 513625"/>
                <a:gd name="connsiteX0" fmla="*/ 0 w 2490966"/>
                <a:gd name="connsiteY0" fmla="*/ 387968 h 901593"/>
                <a:gd name="connsiteX1" fmla="*/ 1277286 w 2490966"/>
                <a:gd name="connsiteY1" fmla="*/ 0 h 901593"/>
                <a:gd name="connsiteX2" fmla="*/ 2490966 w 2490966"/>
                <a:gd name="connsiteY2" fmla="*/ 393386 h 901593"/>
                <a:gd name="connsiteX3" fmla="*/ 1233387 w 2490966"/>
                <a:gd name="connsiteY3" fmla="*/ 901593 h 901593"/>
                <a:gd name="connsiteX4" fmla="*/ 0 w 2490966"/>
                <a:gd name="connsiteY4" fmla="*/ 387968 h 901593"/>
                <a:gd name="connsiteX0" fmla="*/ 0 w 2765918"/>
                <a:gd name="connsiteY0" fmla="*/ 387968 h 901593"/>
                <a:gd name="connsiteX1" fmla="*/ 1277286 w 2765918"/>
                <a:gd name="connsiteY1" fmla="*/ 0 h 901593"/>
                <a:gd name="connsiteX2" fmla="*/ 2765918 w 2765918"/>
                <a:gd name="connsiteY2" fmla="*/ 101755 h 901593"/>
                <a:gd name="connsiteX3" fmla="*/ 1233387 w 2765918"/>
                <a:gd name="connsiteY3" fmla="*/ 901593 h 901593"/>
                <a:gd name="connsiteX4" fmla="*/ 0 w 2765918"/>
                <a:gd name="connsiteY4" fmla="*/ 387968 h 901593"/>
                <a:gd name="connsiteX0" fmla="*/ 0 w 3043891"/>
                <a:gd name="connsiteY0" fmla="*/ 92343 h 901593"/>
                <a:gd name="connsiteX1" fmla="*/ 1555259 w 3043891"/>
                <a:gd name="connsiteY1" fmla="*/ 0 h 901593"/>
                <a:gd name="connsiteX2" fmla="*/ 3043891 w 3043891"/>
                <a:gd name="connsiteY2" fmla="*/ 101755 h 901593"/>
                <a:gd name="connsiteX3" fmla="*/ 1511360 w 3043891"/>
                <a:gd name="connsiteY3" fmla="*/ 901593 h 901593"/>
                <a:gd name="connsiteX4" fmla="*/ 0 w 3043891"/>
                <a:gd name="connsiteY4" fmla="*/ 92343 h 901593"/>
                <a:gd name="connsiteX0" fmla="*/ 0 w 3043891"/>
                <a:gd name="connsiteY0" fmla="*/ 779471 h 1588721"/>
                <a:gd name="connsiteX1" fmla="*/ 1531087 w 3043891"/>
                <a:gd name="connsiteY1" fmla="*/ 0 h 1588721"/>
                <a:gd name="connsiteX2" fmla="*/ 3043891 w 3043891"/>
                <a:gd name="connsiteY2" fmla="*/ 788883 h 1588721"/>
                <a:gd name="connsiteX3" fmla="*/ 1511360 w 3043891"/>
                <a:gd name="connsiteY3" fmla="*/ 1588721 h 1588721"/>
                <a:gd name="connsiteX4" fmla="*/ 0 w 3043891"/>
                <a:gd name="connsiteY4" fmla="*/ 779471 h 1588721"/>
                <a:gd name="connsiteX0" fmla="*/ 0 w 3043891"/>
                <a:gd name="connsiteY0" fmla="*/ 779471 h 1652640"/>
                <a:gd name="connsiteX1" fmla="*/ 1531087 w 3043891"/>
                <a:gd name="connsiteY1" fmla="*/ 0 h 1652640"/>
                <a:gd name="connsiteX2" fmla="*/ 3043891 w 3043891"/>
                <a:gd name="connsiteY2" fmla="*/ 788883 h 1652640"/>
                <a:gd name="connsiteX3" fmla="*/ 1523445 w 3043891"/>
                <a:gd name="connsiteY3" fmla="*/ 1652640 h 1652640"/>
                <a:gd name="connsiteX4" fmla="*/ 0 w 3043891"/>
                <a:gd name="connsiteY4" fmla="*/ 779471 h 1652640"/>
                <a:gd name="connsiteX0" fmla="*/ 0 w 3054947"/>
                <a:gd name="connsiteY0" fmla="*/ 779471 h 1652640"/>
                <a:gd name="connsiteX1" fmla="*/ 1531087 w 3054947"/>
                <a:gd name="connsiteY1" fmla="*/ 0 h 1652640"/>
                <a:gd name="connsiteX2" fmla="*/ 3054947 w 3054947"/>
                <a:gd name="connsiteY2" fmla="*/ 788883 h 1652640"/>
                <a:gd name="connsiteX3" fmla="*/ 1523445 w 3054947"/>
                <a:gd name="connsiteY3" fmla="*/ 1652640 h 1652640"/>
                <a:gd name="connsiteX4" fmla="*/ 0 w 3054947"/>
                <a:gd name="connsiteY4" fmla="*/ 779471 h 165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4947" h="1652640">
                  <a:moveTo>
                    <a:pt x="0" y="779471"/>
                  </a:moveTo>
                  <a:lnTo>
                    <a:pt x="1531087" y="0"/>
                  </a:lnTo>
                  <a:lnTo>
                    <a:pt x="3054947" y="788883"/>
                  </a:lnTo>
                  <a:lnTo>
                    <a:pt x="1523445" y="1652640"/>
                  </a:lnTo>
                  <a:lnTo>
                    <a:pt x="0" y="77947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2" name="Rectangle 4">
              <a:extLst>
                <a:ext uri="{FF2B5EF4-FFF2-40B4-BE49-F238E27FC236}">
                  <a16:creationId xmlns:a16="http://schemas.microsoft.com/office/drawing/2014/main" id="{1725360E-610F-F9B9-54EE-F28336A93512}"/>
                </a:ext>
              </a:extLst>
            </p:cNvPr>
            <p:cNvSpPr/>
            <p:nvPr/>
          </p:nvSpPr>
          <p:spPr>
            <a:xfrm>
              <a:off x="3077000" y="4571257"/>
              <a:ext cx="2505119" cy="1598183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7086 w 1316947"/>
                <a:gd name="connsiteY0" fmla="*/ 224719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7086 w 1316947"/>
                <a:gd name="connsiteY4" fmla="*/ 224719 h 666750"/>
                <a:gd name="connsiteX0" fmla="*/ 3175 w 1313036"/>
                <a:gd name="connsiteY0" fmla="*/ 224719 h 777169"/>
                <a:gd name="connsiteX1" fmla="*/ 960611 w 1313036"/>
                <a:gd name="connsiteY1" fmla="*/ 0 h 777169"/>
                <a:gd name="connsiteX2" fmla="*/ 1313036 w 1313036"/>
                <a:gd name="connsiteY2" fmla="*/ 438150 h 777169"/>
                <a:gd name="connsiteX3" fmla="*/ 0 w 1313036"/>
                <a:gd name="connsiteY3" fmla="*/ 777169 h 777169"/>
                <a:gd name="connsiteX4" fmla="*/ 3175 w 1313036"/>
                <a:gd name="connsiteY4" fmla="*/ 224719 h 777169"/>
                <a:gd name="connsiteX0" fmla="*/ 3175 w 1219167"/>
                <a:gd name="connsiteY0" fmla="*/ 224719 h 777169"/>
                <a:gd name="connsiteX1" fmla="*/ 960611 w 1219167"/>
                <a:gd name="connsiteY1" fmla="*/ 0 h 777169"/>
                <a:gd name="connsiteX2" fmla="*/ 1219167 w 1219167"/>
                <a:gd name="connsiteY2" fmla="*/ 418074 h 777169"/>
                <a:gd name="connsiteX3" fmla="*/ 0 w 1219167"/>
                <a:gd name="connsiteY3" fmla="*/ 777169 h 777169"/>
                <a:gd name="connsiteX4" fmla="*/ 3175 w 1219167"/>
                <a:gd name="connsiteY4" fmla="*/ 224719 h 777169"/>
                <a:gd name="connsiteX0" fmla="*/ 3175 w 1168321"/>
                <a:gd name="connsiteY0" fmla="*/ 224719 h 777169"/>
                <a:gd name="connsiteX1" fmla="*/ 960611 w 1168321"/>
                <a:gd name="connsiteY1" fmla="*/ 0 h 777169"/>
                <a:gd name="connsiteX2" fmla="*/ 1168321 w 1168321"/>
                <a:gd name="connsiteY2" fmla="*/ 337769 h 777169"/>
                <a:gd name="connsiteX3" fmla="*/ 0 w 1168321"/>
                <a:gd name="connsiteY3" fmla="*/ 777169 h 777169"/>
                <a:gd name="connsiteX4" fmla="*/ 3175 w 1168321"/>
                <a:gd name="connsiteY4" fmla="*/ 224719 h 777169"/>
                <a:gd name="connsiteX0" fmla="*/ 3175 w 1203522"/>
                <a:gd name="connsiteY0" fmla="*/ 224719 h 777169"/>
                <a:gd name="connsiteX1" fmla="*/ 960611 w 1203522"/>
                <a:gd name="connsiteY1" fmla="*/ 0 h 777169"/>
                <a:gd name="connsiteX2" fmla="*/ 1203522 w 1203522"/>
                <a:gd name="connsiteY2" fmla="*/ 387960 h 777169"/>
                <a:gd name="connsiteX3" fmla="*/ 0 w 1203522"/>
                <a:gd name="connsiteY3" fmla="*/ 777169 h 777169"/>
                <a:gd name="connsiteX4" fmla="*/ 3175 w 1203522"/>
                <a:gd name="connsiteY4" fmla="*/ 224719 h 777169"/>
                <a:gd name="connsiteX0" fmla="*/ 9 w 1200356"/>
                <a:gd name="connsiteY0" fmla="*/ 224719 h 636636"/>
                <a:gd name="connsiteX1" fmla="*/ 957445 w 1200356"/>
                <a:gd name="connsiteY1" fmla="*/ 0 h 636636"/>
                <a:gd name="connsiteX2" fmla="*/ 1200356 w 1200356"/>
                <a:gd name="connsiteY2" fmla="*/ 387960 h 636636"/>
                <a:gd name="connsiteX3" fmla="*/ 90703 w 1200356"/>
                <a:gd name="connsiteY3" fmla="*/ 636636 h 636636"/>
                <a:gd name="connsiteX4" fmla="*/ 9 w 1200356"/>
                <a:gd name="connsiteY4" fmla="*/ 224719 h 636636"/>
                <a:gd name="connsiteX0" fmla="*/ 239 w 1200586"/>
                <a:gd name="connsiteY0" fmla="*/ 224719 h 762112"/>
                <a:gd name="connsiteX1" fmla="*/ 957675 w 1200586"/>
                <a:gd name="connsiteY1" fmla="*/ 0 h 762112"/>
                <a:gd name="connsiteX2" fmla="*/ 1200586 w 1200586"/>
                <a:gd name="connsiteY2" fmla="*/ 387960 h 762112"/>
                <a:gd name="connsiteX3" fmla="*/ 975 w 1200586"/>
                <a:gd name="connsiteY3" fmla="*/ 762112 h 762112"/>
                <a:gd name="connsiteX4" fmla="*/ 239 w 1200586"/>
                <a:gd name="connsiteY4" fmla="*/ 224719 h 762112"/>
                <a:gd name="connsiteX0" fmla="*/ 30790 w 1199611"/>
                <a:gd name="connsiteY0" fmla="*/ 305630 h 762112"/>
                <a:gd name="connsiteX1" fmla="*/ 956700 w 1199611"/>
                <a:gd name="connsiteY1" fmla="*/ 0 h 762112"/>
                <a:gd name="connsiteX2" fmla="*/ 1199611 w 1199611"/>
                <a:gd name="connsiteY2" fmla="*/ 387960 h 762112"/>
                <a:gd name="connsiteX3" fmla="*/ 0 w 1199611"/>
                <a:gd name="connsiteY3" fmla="*/ 762112 h 762112"/>
                <a:gd name="connsiteX4" fmla="*/ 30790 w 1199611"/>
                <a:gd name="connsiteY4" fmla="*/ 305630 h 762112"/>
                <a:gd name="connsiteX0" fmla="*/ 79 w 1207432"/>
                <a:gd name="connsiteY0" fmla="*/ 242700 h 762112"/>
                <a:gd name="connsiteX1" fmla="*/ 964521 w 1207432"/>
                <a:gd name="connsiteY1" fmla="*/ 0 h 762112"/>
                <a:gd name="connsiteX2" fmla="*/ 1207432 w 1207432"/>
                <a:gd name="connsiteY2" fmla="*/ 387960 h 762112"/>
                <a:gd name="connsiteX3" fmla="*/ 7821 w 1207432"/>
                <a:gd name="connsiteY3" fmla="*/ 762112 h 762112"/>
                <a:gd name="connsiteX4" fmla="*/ 79 w 1207432"/>
                <a:gd name="connsiteY4" fmla="*/ 242700 h 762112"/>
                <a:gd name="connsiteX0" fmla="*/ 119 w 1207472"/>
                <a:gd name="connsiteY0" fmla="*/ 242700 h 789082"/>
                <a:gd name="connsiteX1" fmla="*/ 964561 w 1207472"/>
                <a:gd name="connsiteY1" fmla="*/ 0 h 789082"/>
                <a:gd name="connsiteX2" fmla="*/ 1207472 w 1207472"/>
                <a:gd name="connsiteY2" fmla="*/ 387960 h 789082"/>
                <a:gd name="connsiteX3" fmla="*/ 4358 w 1207472"/>
                <a:gd name="connsiteY3" fmla="*/ 789082 h 789082"/>
                <a:gd name="connsiteX4" fmla="*/ 119 w 1207472"/>
                <a:gd name="connsiteY4" fmla="*/ 242700 h 789082"/>
                <a:gd name="connsiteX0" fmla="*/ 119 w 1272816"/>
                <a:gd name="connsiteY0" fmla="*/ 502064 h 1048446"/>
                <a:gd name="connsiteX1" fmla="*/ 1272816 w 1272816"/>
                <a:gd name="connsiteY1" fmla="*/ 0 h 1048446"/>
                <a:gd name="connsiteX2" fmla="*/ 1207472 w 1272816"/>
                <a:gd name="connsiteY2" fmla="*/ 647324 h 1048446"/>
                <a:gd name="connsiteX3" fmla="*/ 4358 w 1272816"/>
                <a:gd name="connsiteY3" fmla="*/ 1048446 h 1048446"/>
                <a:gd name="connsiteX4" fmla="*/ 119 w 1272816"/>
                <a:gd name="connsiteY4" fmla="*/ 502064 h 1048446"/>
                <a:gd name="connsiteX0" fmla="*/ 119 w 1501714"/>
                <a:gd name="connsiteY0" fmla="*/ 502064 h 1048446"/>
                <a:gd name="connsiteX1" fmla="*/ 1272816 w 1501714"/>
                <a:gd name="connsiteY1" fmla="*/ 0 h 1048446"/>
                <a:gd name="connsiteX2" fmla="*/ 1501714 w 1501714"/>
                <a:gd name="connsiteY2" fmla="*/ 364803 h 1048446"/>
                <a:gd name="connsiteX3" fmla="*/ 4358 w 1501714"/>
                <a:gd name="connsiteY3" fmla="*/ 1048446 h 1048446"/>
                <a:gd name="connsiteX4" fmla="*/ 119 w 1501714"/>
                <a:gd name="connsiteY4" fmla="*/ 502064 h 1048446"/>
                <a:gd name="connsiteX0" fmla="*/ 24 w 1501619"/>
                <a:gd name="connsiteY0" fmla="*/ 502064 h 1071604"/>
                <a:gd name="connsiteX1" fmla="*/ 1272721 w 1501619"/>
                <a:gd name="connsiteY1" fmla="*/ 0 h 1071604"/>
                <a:gd name="connsiteX2" fmla="*/ 1501619 w 1501619"/>
                <a:gd name="connsiteY2" fmla="*/ 364803 h 1071604"/>
                <a:gd name="connsiteX3" fmla="*/ 32286 w 1501619"/>
                <a:gd name="connsiteY3" fmla="*/ 1071604 h 1071604"/>
                <a:gd name="connsiteX4" fmla="*/ 24 w 1501619"/>
                <a:gd name="connsiteY4" fmla="*/ 502064 h 1071604"/>
                <a:gd name="connsiteX0" fmla="*/ 48 w 1484129"/>
                <a:gd name="connsiteY0" fmla="*/ 488169 h 1071604"/>
                <a:gd name="connsiteX1" fmla="*/ 1255231 w 1484129"/>
                <a:gd name="connsiteY1" fmla="*/ 0 h 1071604"/>
                <a:gd name="connsiteX2" fmla="*/ 1484129 w 1484129"/>
                <a:gd name="connsiteY2" fmla="*/ 364803 h 1071604"/>
                <a:gd name="connsiteX3" fmla="*/ 14796 w 1484129"/>
                <a:gd name="connsiteY3" fmla="*/ 1071604 h 1071604"/>
                <a:gd name="connsiteX4" fmla="*/ 48 w 1484129"/>
                <a:gd name="connsiteY4" fmla="*/ 488169 h 1071604"/>
                <a:gd name="connsiteX0" fmla="*/ 0 w 1484081"/>
                <a:gd name="connsiteY0" fmla="*/ 488169 h 1071604"/>
                <a:gd name="connsiteX1" fmla="*/ 1255183 w 1484081"/>
                <a:gd name="connsiteY1" fmla="*/ 0 h 1071604"/>
                <a:gd name="connsiteX2" fmla="*/ 1484081 w 1484081"/>
                <a:gd name="connsiteY2" fmla="*/ 364803 h 1071604"/>
                <a:gd name="connsiteX3" fmla="*/ 14748 w 1484081"/>
                <a:gd name="connsiteY3" fmla="*/ 1071604 h 1071604"/>
                <a:gd name="connsiteX4" fmla="*/ 0 w 1484081"/>
                <a:gd name="connsiteY4" fmla="*/ 488169 h 1071604"/>
                <a:gd name="connsiteX0" fmla="*/ 0 w 1484081"/>
                <a:gd name="connsiteY0" fmla="*/ 488169 h 1071604"/>
                <a:gd name="connsiteX1" fmla="*/ 1255183 w 1484081"/>
                <a:gd name="connsiteY1" fmla="*/ 0 h 1071604"/>
                <a:gd name="connsiteX2" fmla="*/ 1484081 w 1484081"/>
                <a:gd name="connsiteY2" fmla="*/ 364803 h 1071604"/>
                <a:gd name="connsiteX3" fmla="*/ 14748 w 1484081"/>
                <a:gd name="connsiteY3" fmla="*/ 1071604 h 1071604"/>
                <a:gd name="connsiteX4" fmla="*/ 0 w 1484081"/>
                <a:gd name="connsiteY4" fmla="*/ 488169 h 1071604"/>
                <a:gd name="connsiteX0" fmla="*/ 0 w 1536178"/>
                <a:gd name="connsiteY0" fmla="*/ 791784 h 1375219"/>
                <a:gd name="connsiteX1" fmla="*/ 1536178 w 1536178"/>
                <a:gd name="connsiteY1" fmla="*/ 0 h 1375219"/>
                <a:gd name="connsiteX2" fmla="*/ 1484081 w 1536178"/>
                <a:gd name="connsiteY2" fmla="*/ 668418 h 1375219"/>
                <a:gd name="connsiteX3" fmla="*/ 14748 w 1536178"/>
                <a:gd name="connsiteY3" fmla="*/ 1375219 h 1375219"/>
                <a:gd name="connsiteX4" fmla="*/ 0 w 1536178"/>
                <a:gd name="connsiteY4" fmla="*/ 791784 h 1375219"/>
                <a:gd name="connsiteX0" fmla="*/ 0 w 1789247"/>
                <a:gd name="connsiteY0" fmla="*/ 791784 h 1375219"/>
                <a:gd name="connsiteX1" fmla="*/ 1536178 w 1789247"/>
                <a:gd name="connsiteY1" fmla="*/ 0 h 1375219"/>
                <a:gd name="connsiteX2" fmla="*/ 1789247 w 1789247"/>
                <a:gd name="connsiteY2" fmla="*/ 420731 h 1375219"/>
                <a:gd name="connsiteX3" fmla="*/ 14748 w 1789247"/>
                <a:gd name="connsiteY3" fmla="*/ 1375219 h 1375219"/>
                <a:gd name="connsiteX4" fmla="*/ 0 w 1789247"/>
                <a:gd name="connsiteY4" fmla="*/ 791784 h 1375219"/>
                <a:gd name="connsiteX0" fmla="*/ 0 w 1789247"/>
                <a:gd name="connsiteY0" fmla="*/ 791784 h 1463108"/>
                <a:gd name="connsiteX1" fmla="*/ 1536178 w 1789247"/>
                <a:gd name="connsiteY1" fmla="*/ 0 h 1463108"/>
                <a:gd name="connsiteX2" fmla="*/ 1789247 w 1789247"/>
                <a:gd name="connsiteY2" fmla="*/ 420731 h 1463108"/>
                <a:gd name="connsiteX3" fmla="*/ 35898 w 1789247"/>
                <a:gd name="connsiteY3" fmla="*/ 1463108 h 1463108"/>
                <a:gd name="connsiteX4" fmla="*/ 0 w 1789247"/>
                <a:gd name="connsiteY4" fmla="*/ 791784 h 1463108"/>
                <a:gd name="connsiteX0" fmla="*/ 0 w 1789247"/>
                <a:gd name="connsiteY0" fmla="*/ 791784 h 1455117"/>
                <a:gd name="connsiteX1" fmla="*/ 1536178 w 1789247"/>
                <a:gd name="connsiteY1" fmla="*/ 0 h 1455117"/>
                <a:gd name="connsiteX2" fmla="*/ 1789247 w 1789247"/>
                <a:gd name="connsiteY2" fmla="*/ 420731 h 1455117"/>
                <a:gd name="connsiteX3" fmla="*/ 23812 w 1789247"/>
                <a:gd name="connsiteY3" fmla="*/ 1455117 h 1455117"/>
                <a:gd name="connsiteX4" fmla="*/ 0 w 1789247"/>
                <a:gd name="connsiteY4" fmla="*/ 791784 h 1455117"/>
                <a:gd name="connsiteX0" fmla="*/ 0 w 1789247"/>
                <a:gd name="connsiteY0" fmla="*/ 791784 h 1263360"/>
                <a:gd name="connsiteX1" fmla="*/ 1536178 w 1789247"/>
                <a:gd name="connsiteY1" fmla="*/ 0 h 1263360"/>
                <a:gd name="connsiteX2" fmla="*/ 1789247 w 1789247"/>
                <a:gd name="connsiteY2" fmla="*/ 420731 h 1263360"/>
                <a:gd name="connsiteX3" fmla="*/ 135605 w 1789247"/>
                <a:gd name="connsiteY3" fmla="*/ 1263360 h 1263360"/>
                <a:gd name="connsiteX4" fmla="*/ 0 w 1789247"/>
                <a:gd name="connsiteY4" fmla="*/ 791784 h 1263360"/>
                <a:gd name="connsiteX0" fmla="*/ 0 w 1789247"/>
                <a:gd name="connsiteY0" fmla="*/ 791784 h 1471097"/>
                <a:gd name="connsiteX1" fmla="*/ 1536178 w 1789247"/>
                <a:gd name="connsiteY1" fmla="*/ 0 h 1471097"/>
                <a:gd name="connsiteX2" fmla="*/ 1789247 w 1789247"/>
                <a:gd name="connsiteY2" fmla="*/ 420731 h 1471097"/>
                <a:gd name="connsiteX3" fmla="*/ 23812 w 1789247"/>
                <a:gd name="connsiteY3" fmla="*/ 1471097 h 1471097"/>
                <a:gd name="connsiteX4" fmla="*/ 0 w 1789247"/>
                <a:gd name="connsiteY4" fmla="*/ 791784 h 1471097"/>
                <a:gd name="connsiteX0" fmla="*/ 31860 w 1766721"/>
                <a:gd name="connsiteY0" fmla="*/ 851708 h 1471097"/>
                <a:gd name="connsiteX1" fmla="*/ 1513652 w 1766721"/>
                <a:gd name="connsiteY1" fmla="*/ 0 h 1471097"/>
                <a:gd name="connsiteX2" fmla="*/ 1766721 w 1766721"/>
                <a:gd name="connsiteY2" fmla="*/ 420731 h 1471097"/>
                <a:gd name="connsiteX3" fmla="*/ 1286 w 1766721"/>
                <a:gd name="connsiteY3" fmla="*/ 1471097 h 1471097"/>
                <a:gd name="connsiteX4" fmla="*/ 31860 w 1766721"/>
                <a:gd name="connsiteY4" fmla="*/ 851708 h 1471097"/>
                <a:gd name="connsiteX0" fmla="*/ 6090 w 1768144"/>
                <a:gd name="connsiteY0" fmla="*/ 827738 h 1471097"/>
                <a:gd name="connsiteX1" fmla="*/ 1515075 w 1768144"/>
                <a:gd name="connsiteY1" fmla="*/ 0 h 1471097"/>
                <a:gd name="connsiteX2" fmla="*/ 1768144 w 1768144"/>
                <a:gd name="connsiteY2" fmla="*/ 420731 h 1471097"/>
                <a:gd name="connsiteX3" fmla="*/ 2709 w 1768144"/>
                <a:gd name="connsiteY3" fmla="*/ 1471097 h 1471097"/>
                <a:gd name="connsiteX4" fmla="*/ 6090 w 1768144"/>
                <a:gd name="connsiteY4" fmla="*/ 827738 h 1471097"/>
                <a:gd name="connsiteX0" fmla="*/ 0 w 1786225"/>
                <a:gd name="connsiteY0" fmla="*/ 791784 h 1471097"/>
                <a:gd name="connsiteX1" fmla="*/ 1533156 w 1786225"/>
                <a:gd name="connsiteY1" fmla="*/ 0 h 1471097"/>
                <a:gd name="connsiteX2" fmla="*/ 1786225 w 1786225"/>
                <a:gd name="connsiteY2" fmla="*/ 420731 h 1471097"/>
                <a:gd name="connsiteX3" fmla="*/ 20790 w 1786225"/>
                <a:gd name="connsiteY3" fmla="*/ 1471097 h 1471097"/>
                <a:gd name="connsiteX4" fmla="*/ 0 w 1786225"/>
                <a:gd name="connsiteY4" fmla="*/ 791784 h 1471097"/>
                <a:gd name="connsiteX0" fmla="*/ 0 w 1786225"/>
                <a:gd name="connsiteY0" fmla="*/ 791784 h 1419162"/>
                <a:gd name="connsiteX1" fmla="*/ 1533156 w 1786225"/>
                <a:gd name="connsiteY1" fmla="*/ 0 h 1419162"/>
                <a:gd name="connsiteX2" fmla="*/ 1786225 w 1786225"/>
                <a:gd name="connsiteY2" fmla="*/ 420731 h 1419162"/>
                <a:gd name="connsiteX3" fmla="*/ 99348 w 1786225"/>
                <a:gd name="connsiteY3" fmla="*/ 1419162 h 1419162"/>
                <a:gd name="connsiteX4" fmla="*/ 0 w 1786225"/>
                <a:gd name="connsiteY4" fmla="*/ 791784 h 1419162"/>
                <a:gd name="connsiteX0" fmla="*/ 0 w 1786225"/>
                <a:gd name="connsiteY0" fmla="*/ 791784 h 1479086"/>
                <a:gd name="connsiteX1" fmla="*/ 1533156 w 1786225"/>
                <a:gd name="connsiteY1" fmla="*/ 0 h 1479086"/>
                <a:gd name="connsiteX2" fmla="*/ 1786225 w 1786225"/>
                <a:gd name="connsiteY2" fmla="*/ 420731 h 1479086"/>
                <a:gd name="connsiteX3" fmla="*/ 35898 w 1786225"/>
                <a:gd name="connsiteY3" fmla="*/ 1479086 h 1479086"/>
                <a:gd name="connsiteX4" fmla="*/ 0 w 1786225"/>
                <a:gd name="connsiteY4" fmla="*/ 791784 h 1479086"/>
                <a:gd name="connsiteX0" fmla="*/ 0 w 1786225"/>
                <a:gd name="connsiteY0" fmla="*/ 791784 h 1487076"/>
                <a:gd name="connsiteX1" fmla="*/ 1533156 w 1786225"/>
                <a:gd name="connsiteY1" fmla="*/ 0 h 1487076"/>
                <a:gd name="connsiteX2" fmla="*/ 1786225 w 1786225"/>
                <a:gd name="connsiteY2" fmla="*/ 420731 h 1487076"/>
                <a:gd name="connsiteX3" fmla="*/ 26833 w 1786225"/>
                <a:gd name="connsiteY3" fmla="*/ 1487076 h 1487076"/>
                <a:gd name="connsiteX4" fmla="*/ 0 w 1786225"/>
                <a:gd name="connsiteY4" fmla="*/ 791784 h 1487076"/>
                <a:gd name="connsiteX0" fmla="*/ 191027 w 1759708"/>
                <a:gd name="connsiteY0" fmla="*/ 879672 h 1487076"/>
                <a:gd name="connsiteX1" fmla="*/ 1506639 w 1759708"/>
                <a:gd name="connsiteY1" fmla="*/ 0 h 1487076"/>
                <a:gd name="connsiteX2" fmla="*/ 1759708 w 1759708"/>
                <a:gd name="connsiteY2" fmla="*/ 420731 h 1487076"/>
                <a:gd name="connsiteX3" fmla="*/ 316 w 1759708"/>
                <a:gd name="connsiteY3" fmla="*/ 1487076 h 1487076"/>
                <a:gd name="connsiteX4" fmla="*/ 191027 w 1759708"/>
                <a:gd name="connsiteY4" fmla="*/ 879672 h 1487076"/>
                <a:gd name="connsiteX0" fmla="*/ 0 w 1789247"/>
                <a:gd name="connsiteY0" fmla="*/ 799774 h 1487076"/>
                <a:gd name="connsiteX1" fmla="*/ 1536178 w 1789247"/>
                <a:gd name="connsiteY1" fmla="*/ 0 h 1487076"/>
                <a:gd name="connsiteX2" fmla="*/ 1789247 w 1789247"/>
                <a:gd name="connsiteY2" fmla="*/ 420731 h 1487076"/>
                <a:gd name="connsiteX3" fmla="*/ 29855 w 1789247"/>
                <a:gd name="connsiteY3" fmla="*/ 1487076 h 1487076"/>
                <a:gd name="connsiteX4" fmla="*/ 0 w 1789247"/>
                <a:gd name="connsiteY4" fmla="*/ 799774 h 1487076"/>
                <a:gd name="connsiteX0" fmla="*/ 465 w 1763148"/>
                <a:gd name="connsiteY0" fmla="*/ 790993 h 1487076"/>
                <a:gd name="connsiteX1" fmla="*/ 1510079 w 1763148"/>
                <a:gd name="connsiteY1" fmla="*/ 0 h 1487076"/>
                <a:gd name="connsiteX2" fmla="*/ 1763148 w 1763148"/>
                <a:gd name="connsiteY2" fmla="*/ 420731 h 1487076"/>
                <a:gd name="connsiteX3" fmla="*/ 3756 w 1763148"/>
                <a:gd name="connsiteY3" fmla="*/ 1487076 h 1487076"/>
                <a:gd name="connsiteX4" fmla="*/ 465 w 1763148"/>
                <a:gd name="connsiteY4" fmla="*/ 790993 h 1487076"/>
                <a:gd name="connsiteX0" fmla="*/ 2280 w 1764963"/>
                <a:gd name="connsiteY0" fmla="*/ 790993 h 1487076"/>
                <a:gd name="connsiteX1" fmla="*/ 1511894 w 1764963"/>
                <a:gd name="connsiteY1" fmla="*/ 0 h 1487076"/>
                <a:gd name="connsiteX2" fmla="*/ 1764963 w 1764963"/>
                <a:gd name="connsiteY2" fmla="*/ 420731 h 1487076"/>
                <a:gd name="connsiteX3" fmla="*/ 5571 w 1764963"/>
                <a:gd name="connsiteY3" fmla="*/ 1487076 h 1487076"/>
                <a:gd name="connsiteX4" fmla="*/ 2280 w 1764963"/>
                <a:gd name="connsiteY4" fmla="*/ 790993 h 1487076"/>
                <a:gd name="connsiteX0" fmla="*/ 264 w 1762947"/>
                <a:gd name="connsiteY0" fmla="*/ 790993 h 1487076"/>
                <a:gd name="connsiteX1" fmla="*/ 1509878 w 1762947"/>
                <a:gd name="connsiteY1" fmla="*/ 0 h 1487076"/>
                <a:gd name="connsiteX2" fmla="*/ 1762947 w 1762947"/>
                <a:gd name="connsiteY2" fmla="*/ 420731 h 1487076"/>
                <a:gd name="connsiteX3" fmla="*/ 3555 w 1762947"/>
                <a:gd name="connsiteY3" fmla="*/ 1487076 h 1487076"/>
                <a:gd name="connsiteX4" fmla="*/ 264 w 1762947"/>
                <a:gd name="connsiteY4" fmla="*/ 790993 h 148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2947" h="1487076">
                  <a:moveTo>
                    <a:pt x="264" y="790993"/>
                  </a:moveTo>
                  <a:lnTo>
                    <a:pt x="1509878" y="0"/>
                  </a:lnTo>
                  <a:lnTo>
                    <a:pt x="1762947" y="420731"/>
                  </a:lnTo>
                  <a:lnTo>
                    <a:pt x="3555" y="1487076"/>
                  </a:lnTo>
                  <a:cubicBezTo>
                    <a:pt x="983" y="1127063"/>
                    <a:pt x="-669" y="1020958"/>
                    <a:pt x="264" y="79099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3" name="Rectangle 4">
              <a:extLst>
                <a:ext uri="{FF2B5EF4-FFF2-40B4-BE49-F238E27FC236}">
                  <a16:creationId xmlns:a16="http://schemas.microsoft.com/office/drawing/2014/main" id="{FF744830-B805-F0F8-AF63-000B7619F618}"/>
                </a:ext>
              </a:extLst>
            </p:cNvPr>
            <p:cNvSpPr/>
            <p:nvPr/>
          </p:nvSpPr>
          <p:spPr>
            <a:xfrm flipH="1">
              <a:off x="479735" y="4553913"/>
              <a:ext cx="2608484" cy="1606538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3175 w 1316947"/>
                <a:gd name="connsiteY0" fmla="*/ 139700 h 692150"/>
                <a:gd name="connsiteX1" fmla="*/ 817351 w 1316947"/>
                <a:gd name="connsiteY1" fmla="*/ 0 h 692150"/>
                <a:gd name="connsiteX2" fmla="*/ 1316947 w 1316947"/>
                <a:gd name="connsiteY2" fmla="*/ 463550 h 692150"/>
                <a:gd name="connsiteX3" fmla="*/ 0 w 1316947"/>
                <a:gd name="connsiteY3" fmla="*/ 692150 h 692150"/>
                <a:gd name="connsiteX4" fmla="*/ 3175 w 1316947"/>
                <a:gd name="connsiteY4" fmla="*/ 139700 h 692150"/>
                <a:gd name="connsiteX0" fmla="*/ 3175 w 840003"/>
                <a:gd name="connsiteY0" fmla="*/ 139700 h 692150"/>
                <a:gd name="connsiteX1" fmla="*/ 817351 w 840003"/>
                <a:gd name="connsiteY1" fmla="*/ 0 h 692150"/>
                <a:gd name="connsiteX2" fmla="*/ 840003 w 840003"/>
                <a:gd name="connsiteY2" fmla="*/ 368300 h 692150"/>
                <a:gd name="connsiteX3" fmla="*/ 0 w 840003"/>
                <a:gd name="connsiteY3" fmla="*/ 692150 h 692150"/>
                <a:gd name="connsiteX4" fmla="*/ 3175 w 840003"/>
                <a:gd name="connsiteY4" fmla="*/ 139700 h 692150"/>
                <a:gd name="connsiteX0" fmla="*/ 3175 w 1123444"/>
                <a:gd name="connsiteY0" fmla="*/ 139700 h 692150"/>
                <a:gd name="connsiteX1" fmla="*/ 817351 w 1123444"/>
                <a:gd name="connsiteY1" fmla="*/ 0 h 692150"/>
                <a:gd name="connsiteX2" fmla="*/ 1123444 w 1123444"/>
                <a:gd name="connsiteY2" fmla="*/ 428625 h 692150"/>
                <a:gd name="connsiteX3" fmla="*/ 0 w 1123444"/>
                <a:gd name="connsiteY3" fmla="*/ 692150 h 692150"/>
                <a:gd name="connsiteX4" fmla="*/ 3175 w 1123444"/>
                <a:gd name="connsiteY4" fmla="*/ 139700 h 692150"/>
                <a:gd name="connsiteX0" fmla="*/ 65 w 1120334"/>
                <a:gd name="connsiteY0" fmla="*/ 139700 h 802569"/>
                <a:gd name="connsiteX1" fmla="*/ 814241 w 1120334"/>
                <a:gd name="connsiteY1" fmla="*/ 0 h 802569"/>
                <a:gd name="connsiteX2" fmla="*/ 1120334 w 1120334"/>
                <a:gd name="connsiteY2" fmla="*/ 428625 h 802569"/>
                <a:gd name="connsiteX3" fmla="*/ 10319 w 1120334"/>
                <a:gd name="connsiteY3" fmla="*/ 802569 h 802569"/>
                <a:gd name="connsiteX4" fmla="*/ 65 w 1120334"/>
                <a:gd name="connsiteY4" fmla="*/ 139700 h 802569"/>
                <a:gd name="connsiteX0" fmla="*/ 87 w 1116998"/>
                <a:gd name="connsiteY0" fmla="*/ 265177 h 802569"/>
                <a:gd name="connsiteX1" fmla="*/ 810905 w 1116998"/>
                <a:gd name="connsiteY1" fmla="*/ 0 h 802569"/>
                <a:gd name="connsiteX2" fmla="*/ 1116998 w 1116998"/>
                <a:gd name="connsiteY2" fmla="*/ 428625 h 802569"/>
                <a:gd name="connsiteX3" fmla="*/ 6983 w 1116998"/>
                <a:gd name="connsiteY3" fmla="*/ 802569 h 802569"/>
                <a:gd name="connsiteX4" fmla="*/ 87 w 1116998"/>
                <a:gd name="connsiteY4" fmla="*/ 265177 h 802569"/>
                <a:gd name="connsiteX0" fmla="*/ 51 w 1123677"/>
                <a:gd name="connsiteY0" fmla="*/ 260158 h 802569"/>
                <a:gd name="connsiteX1" fmla="*/ 817584 w 1123677"/>
                <a:gd name="connsiteY1" fmla="*/ 0 h 802569"/>
                <a:gd name="connsiteX2" fmla="*/ 1123677 w 1123677"/>
                <a:gd name="connsiteY2" fmla="*/ 428625 h 802569"/>
                <a:gd name="connsiteX3" fmla="*/ 13662 w 1123677"/>
                <a:gd name="connsiteY3" fmla="*/ 802569 h 802569"/>
                <a:gd name="connsiteX4" fmla="*/ 51 w 1123677"/>
                <a:gd name="connsiteY4" fmla="*/ 260158 h 802569"/>
                <a:gd name="connsiteX0" fmla="*/ 64 w 1123690"/>
                <a:gd name="connsiteY0" fmla="*/ 260158 h 812607"/>
                <a:gd name="connsiteX1" fmla="*/ 817597 w 1123690"/>
                <a:gd name="connsiteY1" fmla="*/ 0 h 812607"/>
                <a:gd name="connsiteX2" fmla="*/ 1123690 w 1123690"/>
                <a:gd name="connsiteY2" fmla="*/ 428625 h 812607"/>
                <a:gd name="connsiteX3" fmla="*/ 10318 w 1123690"/>
                <a:gd name="connsiteY3" fmla="*/ 812607 h 812607"/>
                <a:gd name="connsiteX4" fmla="*/ 64 w 1123690"/>
                <a:gd name="connsiteY4" fmla="*/ 260158 h 812607"/>
                <a:gd name="connsiteX0" fmla="*/ 64 w 1012898"/>
                <a:gd name="connsiteY0" fmla="*/ 260158 h 812607"/>
                <a:gd name="connsiteX1" fmla="*/ 817597 w 1012898"/>
                <a:gd name="connsiteY1" fmla="*/ 0 h 812607"/>
                <a:gd name="connsiteX2" fmla="*/ 1012898 w 1012898"/>
                <a:gd name="connsiteY2" fmla="*/ 378435 h 812607"/>
                <a:gd name="connsiteX3" fmla="*/ 10318 w 1012898"/>
                <a:gd name="connsiteY3" fmla="*/ 812607 h 812607"/>
                <a:gd name="connsiteX4" fmla="*/ 64 w 1012898"/>
                <a:gd name="connsiteY4" fmla="*/ 260158 h 812607"/>
                <a:gd name="connsiteX0" fmla="*/ 64 w 1036400"/>
                <a:gd name="connsiteY0" fmla="*/ 260158 h 812607"/>
                <a:gd name="connsiteX1" fmla="*/ 817597 w 1036400"/>
                <a:gd name="connsiteY1" fmla="*/ 0 h 812607"/>
                <a:gd name="connsiteX2" fmla="*/ 1036400 w 1036400"/>
                <a:gd name="connsiteY2" fmla="*/ 368397 h 812607"/>
                <a:gd name="connsiteX3" fmla="*/ 10318 w 1036400"/>
                <a:gd name="connsiteY3" fmla="*/ 812607 h 812607"/>
                <a:gd name="connsiteX4" fmla="*/ 64 w 1036400"/>
                <a:gd name="connsiteY4" fmla="*/ 260158 h 812607"/>
                <a:gd name="connsiteX0" fmla="*/ 86 w 1036422"/>
                <a:gd name="connsiteY0" fmla="*/ 260158 h 812607"/>
                <a:gd name="connsiteX1" fmla="*/ 817619 w 1036422"/>
                <a:gd name="connsiteY1" fmla="*/ 0 h 812607"/>
                <a:gd name="connsiteX2" fmla="*/ 1036422 w 1036422"/>
                <a:gd name="connsiteY2" fmla="*/ 368397 h 812607"/>
                <a:gd name="connsiteX3" fmla="*/ 6982 w 1036422"/>
                <a:gd name="connsiteY3" fmla="*/ 812607 h 812607"/>
                <a:gd name="connsiteX4" fmla="*/ 86 w 1036422"/>
                <a:gd name="connsiteY4" fmla="*/ 260158 h 812607"/>
                <a:gd name="connsiteX0" fmla="*/ 20165 w 1056501"/>
                <a:gd name="connsiteY0" fmla="*/ 260158 h 826501"/>
                <a:gd name="connsiteX1" fmla="*/ 837698 w 1056501"/>
                <a:gd name="connsiteY1" fmla="*/ 0 h 826501"/>
                <a:gd name="connsiteX2" fmla="*/ 1056501 w 1056501"/>
                <a:gd name="connsiteY2" fmla="*/ 368397 h 826501"/>
                <a:gd name="connsiteX3" fmla="*/ 0 w 1056501"/>
                <a:gd name="connsiteY3" fmla="*/ 826501 h 826501"/>
                <a:gd name="connsiteX4" fmla="*/ 20165 w 1056501"/>
                <a:gd name="connsiteY4" fmla="*/ 260158 h 826501"/>
                <a:gd name="connsiteX0" fmla="*/ 20165 w 1084260"/>
                <a:gd name="connsiteY0" fmla="*/ 510258 h 1076601"/>
                <a:gd name="connsiteX1" fmla="*/ 1084260 w 1084260"/>
                <a:gd name="connsiteY1" fmla="*/ 0 h 1076601"/>
                <a:gd name="connsiteX2" fmla="*/ 1056501 w 1084260"/>
                <a:gd name="connsiteY2" fmla="*/ 618497 h 1076601"/>
                <a:gd name="connsiteX3" fmla="*/ 0 w 1084260"/>
                <a:gd name="connsiteY3" fmla="*/ 1076601 h 1076601"/>
                <a:gd name="connsiteX4" fmla="*/ 20165 w 1084260"/>
                <a:gd name="connsiteY4" fmla="*/ 510258 h 1076601"/>
                <a:gd name="connsiteX0" fmla="*/ 20165 w 1279008"/>
                <a:gd name="connsiteY0" fmla="*/ 510258 h 1076601"/>
                <a:gd name="connsiteX1" fmla="*/ 1084260 w 1279008"/>
                <a:gd name="connsiteY1" fmla="*/ 0 h 1076601"/>
                <a:gd name="connsiteX2" fmla="*/ 1279008 w 1279008"/>
                <a:gd name="connsiteY2" fmla="*/ 377660 h 1076601"/>
                <a:gd name="connsiteX3" fmla="*/ 0 w 1279008"/>
                <a:gd name="connsiteY3" fmla="*/ 1076601 h 1076601"/>
                <a:gd name="connsiteX4" fmla="*/ 20165 w 1279008"/>
                <a:gd name="connsiteY4" fmla="*/ 510258 h 1076601"/>
                <a:gd name="connsiteX0" fmla="*/ 20165 w 1285021"/>
                <a:gd name="connsiteY0" fmla="*/ 510258 h 1076601"/>
                <a:gd name="connsiteX1" fmla="*/ 1084260 w 1285021"/>
                <a:gd name="connsiteY1" fmla="*/ 0 h 1076601"/>
                <a:gd name="connsiteX2" fmla="*/ 1285021 w 1285021"/>
                <a:gd name="connsiteY2" fmla="*/ 368396 h 1076601"/>
                <a:gd name="connsiteX3" fmla="*/ 0 w 1285021"/>
                <a:gd name="connsiteY3" fmla="*/ 1076601 h 1076601"/>
                <a:gd name="connsiteX4" fmla="*/ 20165 w 1285021"/>
                <a:gd name="connsiteY4" fmla="*/ 510258 h 1076601"/>
                <a:gd name="connsiteX0" fmla="*/ 13 w 1264869"/>
                <a:gd name="connsiteY0" fmla="*/ 510258 h 1095127"/>
                <a:gd name="connsiteX1" fmla="*/ 1064108 w 1264869"/>
                <a:gd name="connsiteY1" fmla="*/ 0 h 1095127"/>
                <a:gd name="connsiteX2" fmla="*/ 1264869 w 1264869"/>
                <a:gd name="connsiteY2" fmla="*/ 368396 h 1095127"/>
                <a:gd name="connsiteX3" fmla="*/ 64040 w 1264869"/>
                <a:gd name="connsiteY3" fmla="*/ 1095127 h 1095127"/>
                <a:gd name="connsiteX4" fmla="*/ 13 w 1264869"/>
                <a:gd name="connsiteY4" fmla="*/ 510258 h 1095127"/>
                <a:gd name="connsiteX0" fmla="*/ 2124 w 1266980"/>
                <a:gd name="connsiteY0" fmla="*/ 510258 h 1071969"/>
                <a:gd name="connsiteX1" fmla="*/ 1066219 w 1266980"/>
                <a:gd name="connsiteY1" fmla="*/ 0 h 1071969"/>
                <a:gd name="connsiteX2" fmla="*/ 1266980 w 1266980"/>
                <a:gd name="connsiteY2" fmla="*/ 368396 h 1071969"/>
                <a:gd name="connsiteX3" fmla="*/ 0 w 1266980"/>
                <a:gd name="connsiteY3" fmla="*/ 1071969 h 1071969"/>
                <a:gd name="connsiteX4" fmla="*/ 2124 w 1266980"/>
                <a:gd name="connsiteY4" fmla="*/ 510258 h 1071969"/>
                <a:gd name="connsiteX0" fmla="*/ 2124 w 1299641"/>
                <a:gd name="connsiteY0" fmla="*/ 813874 h 1375585"/>
                <a:gd name="connsiteX1" fmla="*/ 1299641 w 1299641"/>
                <a:gd name="connsiteY1" fmla="*/ 0 h 1375585"/>
                <a:gd name="connsiteX2" fmla="*/ 1266980 w 1299641"/>
                <a:gd name="connsiteY2" fmla="*/ 672012 h 1375585"/>
                <a:gd name="connsiteX3" fmla="*/ 0 w 1299641"/>
                <a:gd name="connsiteY3" fmla="*/ 1375585 h 1375585"/>
                <a:gd name="connsiteX4" fmla="*/ 2124 w 1299641"/>
                <a:gd name="connsiteY4" fmla="*/ 813874 h 1375585"/>
                <a:gd name="connsiteX0" fmla="*/ 2124 w 1544494"/>
                <a:gd name="connsiteY0" fmla="*/ 813874 h 1375585"/>
                <a:gd name="connsiteX1" fmla="*/ 1299641 w 1544494"/>
                <a:gd name="connsiteY1" fmla="*/ 0 h 1375585"/>
                <a:gd name="connsiteX2" fmla="*/ 1544494 w 1544494"/>
                <a:gd name="connsiteY2" fmla="*/ 428321 h 1375585"/>
                <a:gd name="connsiteX3" fmla="*/ 0 w 1544494"/>
                <a:gd name="connsiteY3" fmla="*/ 1375585 h 1375585"/>
                <a:gd name="connsiteX4" fmla="*/ 2124 w 1544494"/>
                <a:gd name="connsiteY4" fmla="*/ 813874 h 1375585"/>
                <a:gd name="connsiteX0" fmla="*/ 33247 w 1575617"/>
                <a:gd name="connsiteY0" fmla="*/ 8138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33247 w 1575617"/>
                <a:gd name="connsiteY4" fmla="*/ 813874 h 1491438"/>
                <a:gd name="connsiteX0" fmla="*/ 33247 w 1575617"/>
                <a:gd name="connsiteY0" fmla="*/ 8138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33247 w 1575617"/>
                <a:gd name="connsiteY4" fmla="*/ 813874 h 1491438"/>
                <a:gd name="connsiteX0" fmla="*/ 33247 w 1575617"/>
                <a:gd name="connsiteY0" fmla="*/ 8138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33247 w 1575617"/>
                <a:gd name="connsiteY4" fmla="*/ 813874 h 1491438"/>
                <a:gd name="connsiteX0" fmla="*/ 33247 w 1575617"/>
                <a:gd name="connsiteY0" fmla="*/ 8138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33247 w 1575617"/>
                <a:gd name="connsiteY4" fmla="*/ 813874 h 1491438"/>
                <a:gd name="connsiteX0" fmla="*/ 33247 w 1575617"/>
                <a:gd name="connsiteY0" fmla="*/ 8138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33247 w 1575617"/>
                <a:gd name="connsiteY4" fmla="*/ 813874 h 1491438"/>
                <a:gd name="connsiteX0" fmla="*/ 33247 w 1575617"/>
                <a:gd name="connsiteY0" fmla="*/ 8138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33247 w 1575617"/>
                <a:gd name="connsiteY4" fmla="*/ 813874 h 1491438"/>
                <a:gd name="connsiteX0" fmla="*/ 25466 w 1575617"/>
                <a:gd name="connsiteY0" fmla="*/ 82186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25466 w 1575617"/>
                <a:gd name="connsiteY4" fmla="*/ 821864 h 1491438"/>
                <a:gd name="connsiteX0" fmla="*/ 8364 w 1575617"/>
                <a:gd name="connsiteY0" fmla="*/ 817474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8364 w 1575617"/>
                <a:gd name="connsiteY4" fmla="*/ 817474 h 1491438"/>
                <a:gd name="connsiteX0" fmla="*/ 69388 w 1575617"/>
                <a:gd name="connsiteY0" fmla="*/ 826570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69388 w 1575617"/>
                <a:gd name="connsiteY4" fmla="*/ 826570 h 1491438"/>
                <a:gd name="connsiteX0" fmla="*/ 8364 w 1575617"/>
                <a:gd name="connsiteY0" fmla="*/ 808377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8364 w 1575617"/>
                <a:gd name="connsiteY4" fmla="*/ 808377 h 1491438"/>
                <a:gd name="connsiteX0" fmla="*/ 8364 w 1575617"/>
                <a:gd name="connsiteY0" fmla="*/ 808377 h 1491438"/>
                <a:gd name="connsiteX1" fmla="*/ 1330764 w 1575617"/>
                <a:gd name="connsiteY1" fmla="*/ 0 h 1491438"/>
                <a:gd name="connsiteX2" fmla="*/ 1575617 w 1575617"/>
                <a:gd name="connsiteY2" fmla="*/ 428321 h 1491438"/>
                <a:gd name="connsiteX3" fmla="*/ 0 w 1575617"/>
                <a:gd name="connsiteY3" fmla="*/ 1491438 h 1491438"/>
                <a:gd name="connsiteX4" fmla="*/ 8364 w 1575617"/>
                <a:gd name="connsiteY4" fmla="*/ 808377 h 1491438"/>
                <a:gd name="connsiteX0" fmla="*/ 12301 w 1579554"/>
                <a:gd name="connsiteY0" fmla="*/ 808377 h 1494470"/>
                <a:gd name="connsiteX1" fmla="*/ 1334701 w 1579554"/>
                <a:gd name="connsiteY1" fmla="*/ 0 h 1494470"/>
                <a:gd name="connsiteX2" fmla="*/ 1579554 w 1579554"/>
                <a:gd name="connsiteY2" fmla="*/ 428321 h 1494470"/>
                <a:gd name="connsiteX3" fmla="*/ 0 w 1579554"/>
                <a:gd name="connsiteY3" fmla="*/ 1494470 h 1494470"/>
                <a:gd name="connsiteX4" fmla="*/ 12301 w 1579554"/>
                <a:gd name="connsiteY4" fmla="*/ 808377 h 1494470"/>
                <a:gd name="connsiteX0" fmla="*/ 12301 w 1579554"/>
                <a:gd name="connsiteY0" fmla="*/ 808377 h 1494470"/>
                <a:gd name="connsiteX1" fmla="*/ 1334701 w 1579554"/>
                <a:gd name="connsiteY1" fmla="*/ 0 h 1494470"/>
                <a:gd name="connsiteX2" fmla="*/ 1579554 w 1579554"/>
                <a:gd name="connsiteY2" fmla="*/ 428321 h 1494470"/>
                <a:gd name="connsiteX3" fmla="*/ 0 w 1579554"/>
                <a:gd name="connsiteY3" fmla="*/ 1494470 h 1494470"/>
                <a:gd name="connsiteX4" fmla="*/ 12301 w 1579554"/>
                <a:gd name="connsiteY4" fmla="*/ 808377 h 1494470"/>
                <a:gd name="connsiteX0" fmla="*/ 12301 w 1579554"/>
                <a:gd name="connsiteY0" fmla="*/ 808377 h 1494470"/>
                <a:gd name="connsiteX1" fmla="*/ 1334701 w 1579554"/>
                <a:gd name="connsiteY1" fmla="*/ 0 h 1494470"/>
                <a:gd name="connsiteX2" fmla="*/ 1579554 w 1579554"/>
                <a:gd name="connsiteY2" fmla="*/ 428321 h 1494470"/>
                <a:gd name="connsiteX3" fmla="*/ 0 w 1579554"/>
                <a:gd name="connsiteY3" fmla="*/ 1494470 h 1494470"/>
                <a:gd name="connsiteX4" fmla="*/ 12301 w 1579554"/>
                <a:gd name="connsiteY4" fmla="*/ 808377 h 1494470"/>
                <a:gd name="connsiteX0" fmla="*/ 12301 w 1579554"/>
                <a:gd name="connsiteY0" fmla="*/ 808377 h 1494470"/>
                <a:gd name="connsiteX1" fmla="*/ 1334701 w 1579554"/>
                <a:gd name="connsiteY1" fmla="*/ 0 h 1494470"/>
                <a:gd name="connsiteX2" fmla="*/ 1579554 w 1579554"/>
                <a:gd name="connsiteY2" fmla="*/ 428321 h 1494470"/>
                <a:gd name="connsiteX3" fmla="*/ 0 w 1579554"/>
                <a:gd name="connsiteY3" fmla="*/ 1494470 h 1494470"/>
                <a:gd name="connsiteX4" fmla="*/ 12301 w 1579554"/>
                <a:gd name="connsiteY4" fmla="*/ 808377 h 1494470"/>
                <a:gd name="connsiteX0" fmla="*/ 12301 w 1579554"/>
                <a:gd name="connsiteY0" fmla="*/ 808377 h 1494470"/>
                <a:gd name="connsiteX1" fmla="*/ 1334701 w 1579554"/>
                <a:gd name="connsiteY1" fmla="*/ 0 h 1494470"/>
                <a:gd name="connsiteX2" fmla="*/ 1579554 w 1579554"/>
                <a:gd name="connsiteY2" fmla="*/ 428321 h 1494470"/>
                <a:gd name="connsiteX3" fmla="*/ 0 w 1579554"/>
                <a:gd name="connsiteY3" fmla="*/ 1494470 h 1494470"/>
                <a:gd name="connsiteX4" fmla="*/ 12301 w 1579554"/>
                <a:gd name="connsiteY4" fmla="*/ 808377 h 1494470"/>
                <a:gd name="connsiteX0" fmla="*/ 1373 w 1568626"/>
                <a:gd name="connsiteY0" fmla="*/ 808377 h 1503566"/>
                <a:gd name="connsiteX1" fmla="*/ 1323773 w 1568626"/>
                <a:gd name="connsiteY1" fmla="*/ 0 h 1503566"/>
                <a:gd name="connsiteX2" fmla="*/ 1568626 w 1568626"/>
                <a:gd name="connsiteY2" fmla="*/ 428321 h 1503566"/>
                <a:gd name="connsiteX3" fmla="*/ 18600 w 1568626"/>
                <a:gd name="connsiteY3" fmla="*/ 1503566 h 1503566"/>
                <a:gd name="connsiteX4" fmla="*/ 1373 w 1568626"/>
                <a:gd name="connsiteY4" fmla="*/ 808377 h 1503566"/>
                <a:gd name="connsiteX0" fmla="*/ 4426 w 1571679"/>
                <a:gd name="connsiteY0" fmla="*/ 808377 h 1503566"/>
                <a:gd name="connsiteX1" fmla="*/ 1326826 w 1571679"/>
                <a:gd name="connsiteY1" fmla="*/ 0 h 1503566"/>
                <a:gd name="connsiteX2" fmla="*/ 1571679 w 1571679"/>
                <a:gd name="connsiteY2" fmla="*/ 428321 h 1503566"/>
                <a:gd name="connsiteX3" fmla="*/ 0 w 1571679"/>
                <a:gd name="connsiteY3" fmla="*/ 1503566 h 1503566"/>
                <a:gd name="connsiteX4" fmla="*/ 4426 w 1571679"/>
                <a:gd name="connsiteY4" fmla="*/ 808377 h 1503566"/>
                <a:gd name="connsiteX0" fmla="*/ 2176 w 1577918"/>
                <a:gd name="connsiteY0" fmla="*/ 808377 h 1503566"/>
                <a:gd name="connsiteX1" fmla="*/ 1333065 w 1577918"/>
                <a:gd name="connsiteY1" fmla="*/ 0 h 1503566"/>
                <a:gd name="connsiteX2" fmla="*/ 1577918 w 1577918"/>
                <a:gd name="connsiteY2" fmla="*/ 428321 h 1503566"/>
                <a:gd name="connsiteX3" fmla="*/ 6239 w 1577918"/>
                <a:gd name="connsiteY3" fmla="*/ 1503566 h 1503566"/>
                <a:gd name="connsiteX4" fmla="*/ 2176 w 1577918"/>
                <a:gd name="connsiteY4" fmla="*/ 808377 h 1503566"/>
                <a:gd name="connsiteX0" fmla="*/ 2176 w 1577918"/>
                <a:gd name="connsiteY0" fmla="*/ 808377 h 1494848"/>
                <a:gd name="connsiteX1" fmla="*/ 1333065 w 1577918"/>
                <a:gd name="connsiteY1" fmla="*/ 0 h 1494848"/>
                <a:gd name="connsiteX2" fmla="*/ 1577918 w 1577918"/>
                <a:gd name="connsiteY2" fmla="*/ 428321 h 1494848"/>
                <a:gd name="connsiteX3" fmla="*/ 6239 w 1577918"/>
                <a:gd name="connsiteY3" fmla="*/ 1494848 h 1494848"/>
                <a:gd name="connsiteX4" fmla="*/ 2176 w 1577918"/>
                <a:gd name="connsiteY4" fmla="*/ 808377 h 1494848"/>
                <a:gd name="connsiteX0" fmla="*/ 2176 w 1577918"/>
                <a:gd name="connsiteY0" fmla="*/ 808377 h 1494848"/>
                <a:gd name="connsiteX1" fmla="*/ 1333065 w 1577918"/>
                <a:gd name="connsiteY1" fmla="*/ 0 h 1494848"/>
                <a:gd name="connsiteX2" fmla="*/ 1577918 w 1577918"/>
                <a:gd name="connsiteY2" fmla="*/ 428321 h 1494848"/>
                <a:gd name="connsiteX3" fmla="*/ 6239 w 1577918"/>
                <a:gd name="connsiteY3" fmla="*/ 1494848 h 1494848"/>
                <a:gd name="connsiteX4" fmla="*/ 2176 w 1577918"/>
                <a:gd name="connsiteY4" fmla="*/ 808377 h 1494848"/>
                <a:gd name="connsiteX0" fmla="*/ 6418 w 1582160"/>
                <a:gd name="connsiteY0" fmla="*/ 808377 h 1494848"/>
                <a:gd name="connsiteX1" fmla="*/ 1337307 w 1582160"/>
                <a:gd name="connsiteY1" fmla="*/ 0 h 1494848"/>
                <a:gd name="connsiteX2" fmla="*/ 1582160 w 1582160"/>
                <a:gd name="connsiteY2" fmla="*/ 428321 h 1494848"/>
                <a:gd name="connsiteX3" fmla="*/ 10481 w 1582160"/>
                <a:gd name="connsiteY3" fmla="*/ 1494848 h 1494848"/>
                <a:gd name="connsiteX4" fmla="*/ 6418 w 1582160"/>
                <a:gd name="connsiteY4" fmla="*/ 808377 h 1494848"/>
                <a:gd name="connsiteX0" fmla="*/ 3866 w 1579608"/>
                <a:gd name="connsiteY0" fmla="*/ 808377 h 1494848"/>
                <a:gd name="connsiteX1" fmla="*/ 1334755 w 1579608"/>
                <a:gd name="connsiteY1" fmla="*/ 0 h 1494848"/>
                <a:gd name="connsiteX2" fmla="*/ 1579608 w 1579608"/>
                <a:gd name="connsiteY2" fmla="*/ 428321 h 1494848"/>
                <a:gd name="connsiteX3" fmla="*/ 7929 w 1579608"/>
                <a:gd name="connsiteY3" fmla="*/ 1494848 h 1494848"/>
                <a:gd name="connsiteX4" fmla="*/ 3866 w 1579608"/>
                <a:gd name="connsiteY4" fmla="*/ 808377 h 1494848"/>
                <a:gd name="connsiteX0" fmla="*/ 0 w 1575742"/>
                <a:gd name="connsiteY0" fmla="*/ 808377 h 1494848"/>
                <a:gd name="connsiteX1" fmla="*/ 1330889 w 1575742"/>
                <a:gd name="connsiteY1" fmla="*/ 0 h 1494848"/>
                <a:gd name="connsiteX2" fmla="*/ 1575742 w 1575742"/>
                <a:gd name="connsiteY2" fmla="*/ 428321 h 1494848"/>
                <a:gd name="connsiteX3" fmla="*/ 4063 w 1575742"/>
                <a:gd name="connsiteY3" fmla="*/ 1494848 h 1494848"/>
                <a:gd name="connsiteX4" fmla="*/ 0 w 1575742"/>
                <a:gd name="connsiteY4" fmla="*/ 808377 h 1494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5742" h="1494848">
                  <a:moveTo>
                    <a:pt x="0" y="808377"/>
                  </a:moveTo>
                  <a:lnTo>
                    <a:pt x="1330889" y="0"/>
                  </a:lnTo>
                  <a:lnTo>
                    <a:pt x="1575742" y="428321"/>
                  </a:lnTo>
                  <a:lnTo>
                    <a:pt x="4063" y="1494848"/>
                  </a:lnTo>
                  <a:cubicBezTo>
                    <a:pt x="-1822" y="1133670"/>
                    <a:pt x="3200" y="1166618"/>
                    <a:pt x="0" y="808377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4" name="Rectangle 5">
              <a:extLst>
                <a:ext uri="{FF2B5EF4-FFF2-40B4-BE49-F238E27FC236}">
                  <a16:creationId xmlns:a16="http://schemas.microsoft.com/office/drawing/2014/main" id="{964612A2-7383-83A8-23A7-BF6DB9BB78F6}"/>
                </a:ext>
              </a:extLst>
            </p:cNvPr>
            <p:cNvSpPr/>
            <p:nvPr/>
          </p:nvSpPr>
          <p:spPr>
            <a:xfrm>
              <a:off x="1267240" y="3652314"/>
              <a:ext cx="3552730" cy="968957"/>
            </a:xfrm>
            <a:custGeom>
              <a:avLst/>
              <a:gdLst>
                <a:gd name="connsiteX0" fmla="*/ 0 w 619125"/>
                <a:gd name="connsiteY0" fmla="*/ 0 h 406400"/>
                <a:gd name="connsiteX1" fmla="*/ 619125 w 619125"/>
                <a:gd name="connsiteY1" fmla="*/ 0 h 406400"/>
                <a:gd name="connsiteX2" fmla="*/ 619125 w 619125"/>
                <a:gd name="connsiteY2" fmla="*/ 406400 h 406400"/>
                <a:gd name="connsiteX3" fmla="*/ 0 w 619125"/>
                <a:gd name="connsiteY3" fmla="*/ 406400 h 406400"/>
                <a:gd name="connsiteX4" fmla="*/ 0 w 619125"/>
                <a:gd name="connsiteY4" fmla="*/ 0 h 406400"/>
                <a:gd name="connsiteX0" fmla="*/ 0 w 962025"/>
                <a:gd name="connsiteY0" fmla="*/ 73025 h 479425"/>
                <a:gd name="connsiteX1" fmla="*/ 962025 w 962025"/>
                <a:gd name="connsiteY1" fmla="*/ 0 h 479425"/>
                <a:gd name="connsiteX2" fmla="*/ 619125 w 962025"/>
                <a:gd name="connsiteY2" fmla="*/ 479425 h 479425"/>
                <a:gd name="connsiteX3" fmla="*/ 0 w 962025"/>
                <a:gd name="connsiteY3" fmla="*/ 479425 h 479425"/>
                <a:gd name="connsiteX4" fmla="*/ 0 w 962025"/>
                <a:gd name="connsiteY4" fmla="*/ 73025 h 479425"/>
                <a:gd name="connsiteX0" fmla="*/ 0 w 1901825"/>
                <a:gd name="connsiteY0" fmla="*/ 73025 h 479425"/>
                <a:gd name="connsiteX1" fmla="*/ 962025 w 1901825"/>
                <a:gd name="connsiteY1" fmla="*/ 0 h 479425"/>
                <a:gd name="connsiteX2" fmla="*/ 1901825 w 1901825"/>
                <a:gd name="connsiteY2" fmla="*/ 104775 h 479425"/>
                <a:gd name="connsiteX3" fmla="*/ 0 w 1901825"/>
                <a:gd name="connsiteY3" fmla="*/ 479425 h 479425"/>
                <a:gd name="connsiteX4" fmla="*/ 0 w 1901825"/>
                <a:gd name="connsiteY4" fmla="*/ 73025 h 479425"/>
                <a:gd name="connsiteX0" fmla="*/ 0 w 1901825"/>
                <a:gd name="connsiteY0" fmla="*/ 73025 h 336550"/>
                <a:gd name="connsiteX1" fmla="*/ 962025 w 1901825"/>
                <a:gd name="connsiteY1" fmla="*/ 0 h 336550"/>
                <a:gd name="connsiteX2" fmla="*/ 1901825 w 1901825"/>
                <a:gd name="connsiteY2" fmla="*/ 104775 h 336550"/>
                <a:gd name="connsiteX3" fmla="*/ 946150 w 1901825"/>
                <a:gd name="connsiteY3" fmla="*/ 336550 h 336550"/>
                <a:gd name="connsiteX4" fmla="*/ 0 w 1901825"/>
                <a:gd name="connsiteY4" fmla="*/ 73025 h 336550"/>
                <a:gd name="connsiteX0" fmla="*/ 0 w 1914525"/>
                <a:gd name="connsiteY0" fmla="*/ 76200 h 339725"/>
                <a:gd name="connsiteX1" fmla="*/ 962025 w 1914525"/>
                <a:gd name="connsiteY1" fmla="*/ 3175 h 339725"/>
                <a:gd name="connsiteX2" fmla="*/ 1914525 w 1914525"/>
                <a:gd name="connsiteY2" fmla="*/ 0 h 339725"/>
                <a:gd name="connsiteX3" fmla="*/ 946150 w 1914525"/>
                <a:gd name="connsiteY3" fmla="*/ 339725 h 339725"/>
                <a:gd name="connsiteX4" fmla="*/ 0 w 1914525"/>
                <a:gd name="connsiteY4" fmla="*/ 76200 h 339725"/>
                <a:gd name="connsiteX0" fmla="*/ 0 w 1895475"/>
                <a:gd name="connsiteY0" fmla="*/ 73025 h 336550"/>
                <a:gd name="connsiteX1" fmla="*/ 962025 w 1895475"/>
                <a:gd name="connsiteY1" fmla="*/ 0 h 336550"/>
                <a:gd name="connsiteX2" fmla="*/ 1895475 w 1895475"/>
                <a:gd name="connsiteY2" fmla="*/ 101600 h 336550"/>
                <a:gd name="connsiteX3" fmla="*/ 946150 w 1895475"/>
                <a:gd name="connsiteY3" fmla="*/ 336550 h 336550"/>
                <a:gd name="connsiteX4" fmla="*/ 0 w 1895475"/>
                <a:gd name="connsiteY4" fmla="*/ 73025 h 336550"/>
                <a:gd name="connsiteX0" fmla="*/ 0 w 2189717"/>
                <a:gd name="connsiteY0" fmla="*/ 249314 h 512839"/>
                <a:gd name="connsiteX1" fmla="*/ 962025 w 2189717"/>
                <a:gd name="connsiteY1" fmla="*/ 176289 h 512839"/>
                <a:gd name="connsiteX2" fmla="*/ 2189717 w 2189717"/>
                <a:gd name="connsiteY2" fmla="*/ 0 h 512839"/>
                <a:gd name="connsiteX3" fmla="*/ 946150 w 2189717"/>
                <a:gd name="connsiteY3" fmla="*/ 512839 h 512839"/>
                <a:gd name="connsiteX4" fmla="*/ 0 w 2189717"/>
                <a:gd name="connsiteY4" fmla="*/ 249314 h 512839"/>
                <a:gd name="connsiteX0" fmla="*/ 0 w 2203729"/>
                <a:gd name="connsiteY0" fmla="*/ 244682 h 508207"/>
                <a:gd name="connsiteX1" fmla="*/ 962025 w 2203729"/>
                <a:gd name="connsiteY1" fmla="*/ 171657 h 508207"/>
                <a:gd name="connsiteX2" fmla="*/ 2203729 w 2203729"/>
                <a:gd name="connsiteY2" fmla="*/ 0 h 508207"/>
                <a:gd name="connsiteX3" fmla="*/ 946150 w 2203729"/>
                <a:gd name="connsiteY3" fmla="*/ 508207 h 508207"/>
                <a:gd name="connsiteX4" fmla="*/ 0 w 2203729"/>
                <a:gd name="connsiteY4" fmla="*/ 244682 h 508207"/>
                <a:gd name="connsiteX0" fmla="*/ 0 w 2490966"/>
                <a:gd name="connsiteY0" fmla="*/ 0 h 513625"/>
                <a:gd name="connsiteX1" fmla="*/ 1249262 w 2490966"/>
                <a:gd name="connsiteY1" fmla="*/ 177075 h 513625"/>
                <a:gd name="connsiteX2" fmla="*/ 2490966 w 2490966"/>
                <a:gd name="connsiteY2" fmla="*/ 5418 h 513625"/>
                <a:gd name="connsiteX3" fmla="*/ 1233387 w 2490966"/>
                <a:gd name="connsiteY3" fmla="*/ 513625 h 513625"/>
                <a:gd name="connsiteX4" fmla="*/ 0 w 2490966"/>
                <a:gd name="connsiteY4" fmla="*/ 0 h 513625"/>
                <a:gd name="connsiteX0" fmla="*/ 0 w 2490966"/>
                <a:gd name="connsiteY0" fmla="*/ 387968 h 901593"/>
                <a:gd name="connsiteX1" fmla="*/ 1277286 w 2490966"/>
                <a:gd name="connsiteY1" fmla="*/ 0 h 901593"/>
                <a:gd name="connsiteX2" fmla="*/ 2490966 w 2490966"/>
                <a:gd name="connsiteY2" fmla="*/ 393386 h 901593"/>
                <a:gd name="connsiteX3" fmla="*/ 1233387 w 2490966"/>
                <a:gd name="connsiteY3" fmla="*/ 901593 h 901593"/>
                <a:gd name="connsiteX4" fmla="*/ 0 w 2490966"/>
                <a:gd name="connsiteY4" fmla="*/ 387968 h 901593"/>
                <a:gd name="connsiteX0" fmla="*/ 0 w 2496509"/>
                <a:gd name="connsiteY0" fmla="*/ 387968 h 901593"/>
                <a:gd name="connsiteX1" fmla="*/ 1277286 w 2496509"/>
                <a:gd name="connsiteY1" fmla="*/ 0 h 901593"/>
                <a:gd name="connsiteX2" fmla="*/ 2496509 w 2496509"/>
                <a:gd name="connsiteY2" fmla="*/ 415375 h 901593"/>
                <a:gd name="connsiteX3" fmla="*/ 1233387 w 2496509"/>
                <a:gd name="connsiteY3" fmla="*/ 901593 h 901593"/>
                <a:gd name="connsiteX4" fmla="*/ 0 w 2496509"/>
                <a:gd name="connsiteY4" fmla="*/ 387968 h 901593"/>
                <a:gd name="connsiteX0" fmla="*/ 0 w 2430177"/>
                <a:gd name="connsiteY0" fmla="*/ 387968 h 901593"/>
                <a:gd name="connsiteX1" fmla="*/ 1277286 w 2430177"/>
                <a:gd name="connsiteY1" fmla="*/ 0 h 901593"/>
                <a:gd name="connsiteX2" fmla="*/ 2430177 w 2430177"/>
                <a:gd name="connsiteY2" fmla="*/ 600528 h 901593"/>
                <a:gd name="connsiteX3" fmla="*/ 1233387 w 2430177"/>
                <a:gd name="connsiteY3" fmla="*/ 901593 h 901593"/>
                <a:gd name="connsiteX4" fmla="*/ 0 w 2430177"/>
                <a:gd name="connsiteY4" fmla="*/ 387968 h 901593"/>
                <a:gd name="connsiteX0" fmla="*/ 0 w 2492824"/>
                <a:gd name="connsiteY0" fmla="*/ 387968 h 901593"/>
                <a:gd name="connsiteX1" fmla="*/ 1277286 w 2492824"/>
                <a:gd name="connsiteY1" fmla="*/ 0 h 901593"/>
                <a:gd name="connsiteX2" fmla="*/ 2492824 w 2492824"/>
                <a:gd name="connsiteY2" fmla="*/ 415375 h 901593"/>
                <a:gd name="connsiteX3" fmla="*/ 1233387 w 2492824"/>
                <a:gd name="connsiteY3" fmla="*/ 901593 h 901593"/>
                <a:gd name="connsiteX4" fmla="*/ 0 w 2492824"/>
                <a:gd name="connsiteY4" fmla="*/ 387968 h 901593"/>
                <a:gd name="connsiteX0" fmla="*/ 0 w 2489139"/>
                <a:gd name="connsiteY0" fmla="*/ 387968 h 901593"/>
                <a:gd name="connsiteX1" fmla="*/ 1277286 w 2489139"/>
                <a:gd name="connsiteY1" fmla="*/ 0 h 901593"/>
                <a:gd name="connsiteX2" fmla="*/ 2489139 w 2489139"/>
                <a:gd name="connsiteY2" fmla="*/ 571293 h 901593"/>
                <a:gd name="connsiteX3" fmla="*/ 1233387 w 2489139"/>
                <a:gd name="connsiteY3" fmla="*/ 901593 h 901593"/>
                <a:gd name="connsiteX4" fmla="*/ 0 w 2489139"/>
                <a:gd name="connsiteY4" fmla="*/ 387968 h 901593"/>
                <a:gd name="connsiteX0" fmla="*/ 0 w 2496509"/>
                <a:gd name="connsiteY0" fmla="*/ 387968 h 901593"/>
                <a:gd name="connsiteX1" fmla="*/ 1277286 w 2496509"/>
                <a:gd name="connsiteY1" fmla="*/ 0 h 901593"/>
                <a:gd name="connsiteX2" fmla="*/ 2496509 w 2496509"/>
                <a:gd name="connsiteY2" fmla="*/ 410502 h 901593"/>
                <a:gd name="connsiteX3" fmla="*/ 1233387 w 2496509"/>
                <a:gd name="connsiteY3" fmla="*/ 901593 h 901593"/>
                <a:gd name="connsiteX4" fmla="*/ 0 w 2496509"/>
                <a:gd name="connsiteY4" fmla="*/ 387968 h 901593"/>
                <a:gd name="connsiteX0" fmla="*/ 0 w 2500194"/>
                <a:gd name="connsiteY0" fmla="*/ 387968 h 901593"/>
                <a:gd name="connsiteX1" fmla="*/ 1277286 w 2500194"/>
                <a:gd name="connsiteY1" fmla="*/ 0 h 901593"/>
                <a:gd name="connsiteX2" fmla="*/ 2500194 w 2500194"/>
                <a:gd name="connsiteY2" fmla="*/ 410502 h 901593"/>
                <a:gd name="connsiteX3" fmla="*/ 1233387 w 2500194"/>
                <a:gd name="connsiteY3" fmla="*/ 901593 h 901593"/>
                <a:gd name="connsiteX4" fmla="*/ 0 w 2500194"/>
                <a:gd name="connsiteY4" fmla="*/ 387968 h 90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194" h="901593">
                  <a:moveTo>
                    <a:pt x="0" y="387968"/>
                  </a:moveTo>
                  <a:lnTo>
                    <a:pt x="1277286" y="0"/>
                  </a:lnTo>
                  <a:lnTo>
                    <a:pt x="2500194" y="410502"/>
                  </a:lnTo>
                  <a:lnTo>
                    <a:pt x="1233387" y="901593"/>
                  </a:lnTo>
                  <a:lnTo>
                    <a:pt x="0" y="38796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5" name="Rectangle 4">
              <a:extLst>
                <a:ext uri="{FF2B5EF4-FFF2-40B4-BE49-F238E27FC236}">
                  <a16:creationId xmlns:a16="http://schemas.microsoft.com/office/drawing/2014/main" id="{E7CE41B8-5993-5FD9-9890-A5B58379B7B2}"/>
                </a:ext>
              </a:extLst>
            </p:cNvPr>
            <p:cNvSpPr/>
            <p:nvPr/>
          </p:nvSpPr>
          <p:spPr>
            <a:xfrm>
              <a:off x="3062190" y="4086614"/>
              <a:ext cx="2080727" cy="1154011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7086 w 1316947"/>
                <a:gd name="connsiteY0" fmla="*/ 224719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7086 w 1316947"/>
                <a:gd name="connsiteY4" fmla="*/ 224719 h 666750"/>
                <a:gd name="connsiteX0" fmla="*/ 3175 w 1313036"/>
                <a:gd name="connsiteY0" fmla="*/ 224719 h 777169"/>
                <a:gd name="connsiteX1" fmla="*/ 960611 w 1313036"/>
                <a:gd name="connsiteY1" fmla="*/ 0 h 777169"/>
                <a:gd name="connsiteX2" fmla="*/ 1313036 w 1313036"/>
                <a:gd name="connsiteY2" fmla="*/ 438150 h 777169"/>
                <a:gd name="connsiteX3" fmla="*/ 0 w 1313036"/>
                <a:gd name="connsiteY3" fmla="*/ 777169 h 777169"/>
                <a:gd name="connsiteX4" fmla="*/ 3175 w 1313036"/>
                <a:gd name="connsiteY4" fmla="*/ 224719 h 777169"/>
                <a:gd name="connsiteX0" fmla="*/ 3175 w 1219167"/>
                <a:gd name="connsiteY0" fmla="*/ 224719 h 777169"/>
                <a:gd name="connsiteX1" fmla="*/ 960611 w 1219167"/>
                <a:gd name="connsiteY1" fmla="*/ 0 h 777169"/>
                <a:gd name="connsiteX2" fmla="*/ 1219167 w 1219167"/>
                <a:gd name="connsiteY2" fmla="*/ 418074 h 777169"/>
                <a:gd name="connsiteX3" fmla="*/ 0 w 1219167"/>
                <a:gd name="connsiteY3" fmla="*/ 777169 h 777169"/>
                <a:gd name="connsiteX4" fmla="*/ 3175 w 1219167"/>
                <a:gd name="connsiteY4" fmla="*/ 224719 h 777169"/>
                <a:gd name="connsiteX0" fmla="*/ 3175 w 1168321"/>
                <a:gd name="connsiteY0" fmla="*/ 224719 h 777169"/>
                <a:gd name="connsiteX1" fmla="*/ 960611 w 1168321"/>
                <a:gd name="connsiteY1" fmla="*/ 0 h 777169"/>
                <a:gd name="connsiteX2" fmla="*/ 1168321 w 1168321"/>
                <a:gd name="connsiteY2" fmla="*/ 337769 h 777169"/>
                <a:gd name="connsiteX3" fmla="*/ 0 w 1168321"/>
                <a:gd name="connsiteY3" fmla="*/ 777169 h 777169"/>
                <a:gd name="connsiteX4" fmla="*/ 3175 w 1168321"/>
                <a:gd name="connsiteY4" fmla="*/ 224719 h 777169"/>
                <a:gd name="connsiteX0" fmla="*/ 3175 w 1203522"/>
                <a:gd name="connsiteY0" fmla="*/ 224719 h 777169"/>
                <a:gd name="connsiteX1" fmla="*/ 960611 w 1203522"/>
                <a:gd name="connsiteY1" fmla="*/ 0 h 777169"/>
                <a:gd name="connsiteX2" fmla="*/ 1203522 w 1203522"/>
                <a:gd name="connsiteY2" fmla="*/ 387960 h 777169"/>
                <a:gd name="connsiteX3" fmla="*/ 0 w 1203522"/>
                <a:gd name="connsiteY3" fmla="*/ 777169 h 777169"/>
                <a:gd name="connsiteX4" fmla="*/ 3175 w 1203522"/>
                <a:gd name="connsiteY4" fmla="*/ 224719 h 777169"/>
                <a:gd name="connsiteX0" fmla="*/ 9 w 1200356"/>
                <a:gd name="connsiteY0" fmla="*/ 224719 h 636636"/>
                <a:gd name="connsiteX1" fmla="*/ 957445 w 1200356"/>
                <a:gd name="connsiteY1" fmla="*/ 0 h 636636"/>
                <a:gd name="connsiteX2" fmla="*/ 1200356 w 1200356"/>
                <a:gd name="connsiteY2" fmla="*/ 387960 h 636636"/>
                <a:gd name="connsiteX3" fmla="*/ 90703 w 1200356"/>
                <a:gd name="connsiteY3" fmla="*/ 636636 h 636636"/>
                <a:gd name="connsiteX4" fmla="*/ 9 w 1200356"/>
                <a:gd name="connsiteY4" fmla="*/ 224719 h 636636"/>
                <a:gd name="connsiteX0" fmla="*/ 239 w 1200586"/>
                <a:gd name="connsiteY0" fmla="*/ 224719 h 762112"/>
                <a:gd name="connsiteX1" fmla="*/ 957675 w 1200586"/>
                <a:gd name="connsiteY1" fmla="*/ 0 h 762112"/>
                <a:gd name="connsiteX2" fmla="*/ 1200586 w 1200586"/>
                <a:gd name="connsiteY2" fmla="*/ 387960 h 762112"/>
                <a:gd name="connsiteX3" fmla="*/ 975 w 1200586"/>
                <a:gd name="connsiteY3" fmla="*/ 762112 h 762112"/>
                <a:gd name="connsiteX4" fmla="*/ 239 w 1200586"/>
                <a:gd name="connsiteY4" fmla="*/ 224719 h 762112"/>
                <a:gd name="connsiteX0" fmla="*/ 30790 w 1199611"/>
                <a:gd name="connsiteY0" fmla="*/ 305630 h 762112"/>
                <a:gd name="connsiteX1" fmla="*/ 956700 w 1199611"/>
                <a:gd name="connsiteY1" fmla="*/ 0 h 762112"/>
                <a:gd name="connsiteX2" fmla="*/ 1199611 w 1199611"/>
                <a:gd name="connsiteY2" fmla="*/ 387960 h 762112"/>
                <a:gd name="connsiteX3" fmla="*/ 0 w 1199611"/>
                <a:gd name="connsiteY3" fmla="*/ 762112 h 762112"/>
                <a:gd name="connsiteX4" fmla="*/ 30790 w 1199611"/>
                <a:gd name="connsiteY4" fmla="*/ 305630 h 762112"/>
                <a:gd name="connsiteX0" fmla="*/ 79 w 1207432"/>
                <a:gd name="connsiteY0" fmla="*/ 242700 h 762112"/>
                <a:gd name="connsiteX1" fmla="*/ 964521 w 1207432"/>
                <a:gd name="connsiteY1" fmla="*/ 0 h 762112"/>
                <a:gd name="connsiteX2" fmla="*/ 1207432 w 1207432"/>
                <a:gd name="connsiteY2" fmla="*/ 387960 h 762112"/>
                <a:gd name="connsiteX3" fmla="*/ 7821 w 1207432"/>
                <a:gd name="connsiteY3" fmla="*/ 762112 h 762112"/>
                <a:gd name="connsiteX4" fmla="*/ 79 w 1207432"/>
                <a:gd name="connsiteY4" fmla="*/ 242700 h 762112"/>
                <a:gd name="connsiteX0" fmla="*/ 119 w 1207472"/>
                <a:gd name="connsiteY0" fmla="*/ 242700 h 789082"/>
                <a:gd name="connsiteX1" fmla="*/ 964561 w 1207472"/>
                <a:gd name="connsiteY1" fmla="*/ 0 h 789082"/>
                <a:gd name="connsiteX2" fmla="*/ 1207472 w 1207472"/>
                <a:gd name="connsiteY2" fmla="*/ 387960 h 789082"/>
                <a:gd name="connsiteX3" fmla="*/ 4358 w 1207472"/>
                <a:gd name="connsiteY3" fmla="*/ 789082 h 789082"/>
                <a:gd name="connsiteX4" fmla="*/ 119 w 1207472"/>
                <a:gd name="connsiteY4" fmla="*/ 242700 h 789082"/>
                <a:gd name="connsiteX0" fmla="*/ 119 w 1272816"/>
                <a:gd name="connsiteY0" fmla="*/ 502064 h 1048446"/>
                <a:gd name="connsiteX1" fmla="*/ 1272816 w 1272816"/>
                <a:gd name="connsiteY1" fmla="*/ 0 h 1048446"/>
                <a:gd name="connsiteX2" fmla="*/ 1207472 w 1272816"/>
                <a:gd name="connsiteY2" fmla="*/ 647324 h 1048446"/>
                <a:gd name="connsiteX3" fmla="*/ 4358 w 1272816"/>
                <a:gd name="connsiteY3" fmla="*/ 1048446 h 1048446"/>
                <a:gd name="connsiteX4" fmla="*/ 119 w 1272816"/>
                <a:gd name="connsiteY4" fmla="*/ 502064 h 1048446"/>
                <a:gd name="connsiteX0" fmla="*/ 119 w 1501714"/>
                <a:gd name="connsiteY0" fmla="*/ 502064 h 1048446"/>
                <a:gd name="connsiteX1" fmla="*/ 1272816 w 1501714"/>
                <a:gd name="connsiteY1" fmla="*/ 0 h 1048446"/>
                <a:gd name="connsiteX2" fmla="*/ 1501714 w 1501714"/>
                <a:gd name="connsiteY2" fmla="*/ 364803 h 1048446"/>
                <a:gd name="connsiteX3" fmla="*/ 4358 w 1501714"/>
                <a:gd name="connsiteY3" fmla="*/ 1048446 h 1048446"/>
                <a:gd name="connsiteX4" fmla="*/ 119 w 1501714"/>
                <a:gd name="connsiteY4" fmla="*/ 502064 h 1048446"/>
                <a:gd name="connsiteX0" fmla="*/ 24 w 1501619"/>
                <a:gd name="connsiteY0" fmla="*/ 502064 h 1071604"/>
                <a:gd name="connsiteX1" fmla="*/ 1272721 w 1501619"/>
                <a:gd name="connsiteY1" fmla="*/ 0 h 1071604"/>
                <a:gd name="connsiteX2" fmla="*/ 1501619 w 1501619"/>
                <a:gd name="connsiteY2" fmla="*/ 364803 h 1071604"/>
                <a:gd name="connsiteX3" fmla="*/ 32286 w 1501619"/>
                <a:gd name="connsiteY3" fmla="*/ 1071604 h 1071604"/>
                <a:gd name="connsiteX4" fmla="*/ 24 w 1501619"/>
                <a:gd name="connsiteY4" fmla="*/ 502064 h 1071604"/>
                <a:gd name="connsiteX0" fmla="*/ 48 w 1484129"/>
                <a:gd name="connsiteY0" fmla="*/ 488169 h 1071604"/>
                <a:gd name="connsiteX1" fmla="*/ 1255231 w 1484129"/>
                <a:gd name="connsiteY1" fmla="*/ 0 h 1071604"/>
                <a:gd name="connsiteX2" fmla="*/ 1484129 w 1484129"/>
                <a:gd name="connsiteY2" fmla="*/ 364803 h 1071604"/>
                <a:gd name="connsiteX3" fmla="*/ 14796 w 1484129"/>
                <a:gd name="connsiteY3" fmla="*/ 1071604 h 1071604"/>
                <a:gd name="connsiteX4" fmla="*/ 48 w 1484129"/>
                <a:gd name="connsiteY4" fmla="*/ 488169 h 1071604"/>
                <a:gd name="connsiteX0" fmla="*/ 0 w 1484081"/>
                <a:gd name="connsiteY0" fmla="*/ 488169 h 1071604"/>
                <a:gd name="connsiteX1" fmla="*/ 1255183 w 1484081"/>
                <a:gd name="connsiteY1" fmla="*/ 0 h 1071604"/>
                <a:gd name="connsiteX2" fmla="*/ 1484081 w 1484081"/>
                <a:gd name="connsiteY2" fmla="*/ 364803 h 1071604"/>
                <a:gd name="connsiteX3" fmla="*/ 14748 w 1484081"/>
                <a:gd name="connsiteY3" fmla="*/ 1071604 h 1071604"/>
                <a:gd name="connsiteX4" fmla="*/ 0 w 1484081"/>
                <a:gd name="connsiteY4" fmla="*/ 488169 h 1071604"/>
                <a:gd name="connsiteX0" fmla="*/ 0 w 1484081"/>
                <a:gd name="connsiteY0" fmla="*/ 488169 h 1071604"/>
                <a:gd name="connsiteX1" fmla="*/ 1255183 w 1484081"/>
                <a:gd name="connsiteY1" fmla="*/ 0 h 1071604"/>
                <a:gd name="connsiteX2" fmla="*/ 1484081 w 1484081"/>
                <a:gd name="connsiteY2" fmla="*/ 364803 h 1071604"/>
                <a:gd name="connsiteX3" fmla="*/ 14748 w 1484081"/>
                <a:gd name="connsiteY3" fmla="*/ 1071604 h 1071604"/>
                <a:gd name="connsiteX4" fmla="*/ 0 w 1484081"/>
                <a:gd name="connsiteY4" fmla="*/ 488169 h 1071604"/>
                <a:gd name="connsiteX0" fmla="*/ 3456 w 1487537"/>
                <a:gd name="connsiteY0" fmla="*/ 488169 h 1087584"/>
                <a:gd name="connsiteX1" fmla="*/ 1258639 w 1487537"/>
                <a:gd name="connsiteY1" fmla="*/ 0 h 1087584"/>
                <a:gd name="connsiteX2" fmla="*/ 1487537 w 1487537"/>
                <a:gd name="connsiteY2" fmla="*/ 364803 h 1087584"/>
                <a:gd name="connsiteX3" fmla="*/ 3097 w 1487537"/>
                <a:gd name="connsiteY3" fmla="*/ 1087584 h 1087584"/>
                <a:gd name="connsiteX4" fmla="*/ 3456 w 1487537"/>
                <a:gd name="connsiteY4" fmla="*/ 488169 h 1087584"/>
                <a:gd name="connsiteX0" fmla="*/ 359 w 1484440"/>
                <a:gd name="connsiteY0" fmla="*/ 488169 h 1087584"/>
                <a:gd name="connsiteX1" fmla="*/ 1255542 w 1484440"/>
                <a:gd name="connsiteY1" fmla="*/ 0 h 1087584"/>
                <a:gd name="connsiteX2" fmla="*/ 1484440 w 1484440"/>
                <a:gd name="connsiteY2" fmla="*/ 364803 h 1087584"/>
                <a:gd name="connsiteX3" fmla="*/ 0 w 1484440"/>
                <a:gd name="connsiteY3" fmla="*/ 1087584 h 1087584"/>
                <a:gd name="connsiteX4" fmla="*/ 359 w 1484440"/>
                <a:gd name="connsiteY4" fmla="*/ 488169 h 1087584"/>
                <a:gd name="connsiteX0" fmla="*/ 0 w 1493145"/>
                <a:gd name="connsiteY0" fmla="*/ 500154 h 1087584"/>
                <a:gd name="connsiteX1" fmla="*/ 1264247 w 1493145"/>
                <a:gd name="connsiteY1" fmla="*/ 0 h 1087584"/>
                <a:gd name="connsiteX2" fmla="*/ 1493145 w 1493145"/>
                <a:gd name="connsiteY2" fmla="*/ 364803 h 1087584"/>
                <a:gd name="connsiteX3" fmla="*/ 8705 w 1493145"/>
                <a:gd name="connsiteY3" fmla="*/ 1087584 h 1087584"/>
                <a:gd name="connsiteX4" fmla="*/ 0 w 1493145"/>
                <a:gd name="connsiteY4" fmla="*/ 500154 h 1087584"/>
                <a:gd name="connsiteX0" fmla="*/ 0 w 1493145"/>
                <a:gd name="connsiteY0" fmla="*/ 500154 h 1091975"/>
                <a:gd name="connsiteX1" fmla="*/ 1264247 w 1493145"/>
                <a:gd name="connsiteY1" fmla="*/ 0 h 1091975"/>
                <a:gd name="connsiteX2" fmla="*/ 1493145 w 1493145"/>
                <a:gd name="connsiteY2" fmla="*/ 364803 h 1091975"/>
                <a:gd name="connsiteX3" fmla="*/ 31948 w 1493145"/>
                <a:gd name="connsiteY3" fmla="*/ 1091975 h 1091975"/>
                <a:gd name="connsiteX4" fmla="*/ 0 w 1493145"/>
                <a:gd name="connsiteY4" fmla="*/ 500154 h 1091975"/>
                <a:gd name="connsiteX0" fmla="*/ 0 w 1466581"/>
                <a:gd name="connsiteY0" fmla="*/ 491373 h 1091975"/>
                <a:gd name="connsiteX1" fmla="*/ 1237683 w 1466581"/>
                <a:gd name="connsiteY1" fmla="*/ 0 h 1091975"/>
                <a:gd name="connsiteX2" fmla="*/ 1466581 w 1466581"/>
                <a:gd name="connsiteY2" fmla="*/ 364803 h 1091975"/>
                <a:gd name="connsiteX3" fmla="*/ 5384 w 1466581"/>
                <a:gd name="connsiteY3" fmla="*/ 1091975 h 1091975"/>
                <a:gd name="connsiteX4" fmla="*/ 0 w 1466581"/>
                <a:gd name="connsiteY4" fmla="*/ 491373 h 1091975"/>
                <a:gd name="connsiteX0" fmla="*/ 24428 w 1461197"/>
                <a:gd name="connsiteY0" fmla="*/ 494405 h 1091975"/>
                <a:gd name="connsiteX1" fmla="*/ 1232299 w 1461197"/>
                <a:gd name="connsiteY1" fmla="*/ 0 h 1091975"/>
                <a:gd name="connsiteX2" fmla="*/ 1461197 w 1461197"/>
                <a:gd name="connsiteY2" fmla="*/ 364803 h 1091975"/>
                <a:gd name="connsiteX3" fmla="*/ 0 w 1461197"/>
                <a:gd name="connsiteY3" fmla="*/ 1091975 h 1091975"/>
                <a:gd name="connsiteX4" fmla="*/ 24428 w 1461197"/>
                <a:gd name="connsiteY4" fmla="*/ 494405 h 1091975"/>
                <a:gd name="connsiteX0" fmla="*/ 1495 w 1461197"/>
                <a:gd name="connsiteY0" fmla="*/ 494405 h 1091975"/>
                <a:gd name="connsiteX1" fmla="*/ 1232299 w 1461197"/>
                <a:gd name="connsiteY1" fmla="*/ 0 h 1091975"/>
                <a:gd name="connsiteX2" fmla="*/ 1461197 w 1461197"/>
                <a:gd name="connsiteY2" fmla="*/ 364803 h 1091975"/>
                <a:gd name="connsiteX3" fmla="*/ 0 w 1461197"/>
                <a:gd name="connsiteY3" fmla="*/ 1091975 h 1091975"/>
                <a:gd name="connsiteX4" fmla="*/ 1495 w 1461197"/>
                <a:gd name="connsiteY4" fmla="*/ 494405 h 1091975"/>
                <a:gd name="connsiteX0" fmla="*/ 1495 w 1461197"/>
                <a:gd name="connsiteY0" fmla="*/ 494405 h 1091975"/>
                <a:gd name="connsiteX1" fmla="*/ 1232299 w 1461197"/>
                <a:gd name="connsiteY1" fmla="*/ 0 h 1091975"/>
                <a:gd name="connsiteX2" fmla="*/ 1461197 w 1461197"/>
                <a:gd name="connsiteY2" fmla="*/ 364803 h 1091975"/>
                <a:gd name="connsiteX3" fmla="*/ 0 w 1461197"/>
                <a:gd name="connsiteY3" fmla="*/ 1091975 h 1091975"/>
                <a:gd name="connsiteX4" fmla="*/ 1495 w 1461197"/>
                <a:gd name="connsiteY4" fmla="*/ 494405 h 1091975"/>
                <a:gd name="connsiteX0" fmla="*/ 3788 w 1463490"/>
                <a:gd name="connsiteY0" fmla="*/ 494405 h 1073782"/>
                <a:gd name="connsiteX1" fmla="*/ 1234592 w 1463490"/>
                <a:gd name="connsiteY1" fmla="*/ 0 h 1073782"/>
                <a:gd name="connsiteX2" fmla="*/ 1463490 w 1463490"/>
                <a:gd name="connsiteY2" fmla="*/ 364803 h 1073782"/>
                <a:gd name="connsiteX3" fmla="*/ 0 w 1463490"/>
                <a:gd name="connsiteY3" fmla="*/ 1073782 h 1073782"/>
                <a:gd name="connsiteX4" fmla="*/ 3788 w 1463490"/>
                <a:gd name="connsiteY4" fmla="*/ 494405 h 1073782"/>
                <a:gd name="connsiteX0" fmla="*/ 0 w 1464288"/>
                <a:gd name="connsiteY0" fmla="*/ 494405 h 1073782"/>
                <a:gd name="connsiteX1" fmla="*/ 1235390 w 1464288"/>
                <a:gd name="connsiteY1" fmla="*/ 0 h 1073782"/>
                <a:gd name="connsiteX2" fmla="*/ 1464288 w 1464288"/>
                <a:gd name="connsiteY2" fmla="*/ 364803 h 1073782"/>
                <a:gd name="connsiteX3" fmla="*/ 798 w 1464288"/>
                <a:gd name="connsiteY3" fmla="*/ 1073782 h 1073782"/>
                <a:gd name="connsiteX4" fmla="*/ 0 w 1464288"/>
                <a:gd name="connsiteY4" fmla="*/ 494405 h 1073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4288" h="1073782">
                  <a:moveTo>
                    <a:pt x="0" y="494405"/>
                  </a:moveTo>
                  <a:lnTo>
                    <a:pt x="1235390" y="0"/>
                  </a:lnTo>
                  <a:lnTo>
                    <a:pt x="1464288" y="364803"/>
                  </a:lnTo>
                  <a:lnTo>
                    <a:pt x="798" y="1073782"/>
                  </a:lnTo>
                  <a:cubicBezTo>
                    <a:pt x="3432" y="869657"/>
                    <a:pt x="1360" y="766819"/>
                    <a:pt x="0" y="49440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6" name="Rectangle 4">
              <a:extLst>
                <a:ext uri="{FF2B5EF4-FFF2-40B4-BE49-F238E27FC236}">
                  <a16:creationId xmlns:a16="http://schemas.microsoft.com/office/drawing/2014/main" id="{4333D594-FC30-8056-3F78-5DCFA4939FA8}"/>
                </a:ext>
              </a:extLst>
            </p:cNvPr>
            <p:cNvSpPr/>
            <p:nvPr/>
          </p:nvSpPr>
          <p:spPr>
            <a:xfrm flipH="1">
              <a:off x="933568" y="4069270"/>
              <a:ext cx="2136060" cy="1178859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3175 w 1316947"/>
                <a:gd name="connsiteY0" fmla="*/ 139700 h 692150"/>
                <a:gd name="connsiteX1" fmla="*/ 817351 w 1316947"/>
                <a:gd name="connsiteY1" fmla="*/ 0 h 692150"/>
                <a:gd name="connsiteX2" fmla="*/ 1316947 w 1316947"/>
                <a:gd name="connsiteY2" fmla="*/ 463550 h 692150"/>
                <a:gd name="connsiteX3" fmla="*/ 0 w 1316947"/>
                <a:gd name="connsiteY3" fmla="*/ 692150 h 692150"/>
                <a:gd name="connsiteX4" fmla="*/ 3175 w 1316947"/>
                <a:gd name="connsiteY4" fmla="*/ 139700 h 692150"/>
                <a:gd name="connsiteX0" fmla="*/ 3175 w 840003"/>
                <a:gd name="connsiteY0" fmla="*/ 139700 h 692150"/>
                <a:gd name="connsiteX1" fmla="*/ 817351 w 840003"/>
                <a:gd name="connsiteY1" fmla="*/ 0 h 692150"/>
                <a:gd name="connsiteX2" fmla="*/ 840003 w 840003"/>
                <a:gd name="connsiteY2" fmla="*/ 368300 h 692150"/>
                <a:gd name="connsiteX3" fmla="*/ 0 w 840003"/>
                <a:gd name="connsiteY3" fmla="*/ 692150 h 692150"/>
                <a:gd name="connsiteX4" fmla="*/ 3175 w 840003"/>
                <a:gd name="connsiteY4" fmla="*/ 139700 h 692150"/>
                <a:gd name="connsiteX0" fmla="*/ 3175 w 1123444"/>
                <a:gd name="connsiteY0" fmla="*/ 139700 h 692150"/>
                <a:gd name="connsiteX1" fmla="*/ 817351 w 1123444"/>
                <a:gd name="connsiteY1" fmla="*/ 0 h 692150"/>
                <a:gd name="connsiteX2" fmla="*/ 1123444 w 1123444"/>
                <a:gd name="connsiteY2" fmla="*/ 428625 h 692150"/>
                <a:gd name="connsiteX3" fmla="*/ 0 w 1123444"/>
                <a:gd name="connsiteY3" fmla="*/ 692150 h 692150"/>
                <a:gd name="connsiteX4" fmla="*/ 3175 w 1123444"/>
                <a:gd name="connsiteY4" fmla="*/ 139700 h 692150"/>
                <a:gd name="connsiteX0" fmla="*/ 65 w 1120334"/>
                <a:gd name="connsiteY0" fmla="*/ 139700 h 802569"/>
                <a:gd name="connsiteX1" fmla="*/ 814241 w 1120334"/>
                <a:gd name="connsiteY1" fmla="*/ 0 h 802569"/>
                <a:gd name="connsiteX2" fmla="*/ 1120334 w 1120334"/>
                <a:gd name="connsiteY2" fmla="*/ 428625 h 802569"/>
                <a:gd name="connsiteX3" fmla="*/ 10319 w 1120334"/>
                <a:gd name="connsiteY3" fmla="*/ 802569 h 802569"/>
                <a:gd name="connsiteX4" fmla="*/ 65 w 1120334"/>
                <a:gd name="connsiteY4" fmla="*/ 139700 h 802569"/>
                <a:gd name="connsiteX0" fmla="*/ 87 w 1116998"/>
                <a:gd name="connsiteY0" fmla="*/ 265177 h 802569"/>
                <a:gd name="connsiteX1" fmla="*/ 810905 w 1116998"/>
                <a:gd name="connsiteY1" fmla="*/ 0 h 802569"/>
                <a:gd name="connsiteX2" fmla="*/ 1116998 w 1116998"/>
                <a:gd name="connsiteY2" fmla="*/ 428625 h 802569"/>
                <a:gd name="connsiteX3" fmla="*/ 6983 w 1116998"/>
                <a:gd name="connsiteY3" fmla="*/ 802569 h 802569"/>
                <a:gd name="connsiteX4" fmla="*/ 87 w 1116998"/>
                <a:gd name="connsiteY4" fmla="*/ 265177 h 802569"/>
                <a:gd name="connsiteX0" fmla="*/ 51 w 1123677"/>
                <a:gd name="connsiteY0" fmla="*/ 260158 h 802569"/>
                <a:gd name="connsiteX1" fmla="*/ 817584 w 1123677"/>
                <a:gd name="connsiteY1" fmla="*/ 0 h 802569"/>
                <a:gd name="connsiteX2" fmla="*/ 1123677 w 1123677"/>
                <a:gd name="connsiteY2" fmla="*/ 428625 h 802569"/>
                <a:gd name="connsiteX3" fmla="*/ 13662 w 1123677"/>
                <a:gd name="connsiteY3" fmla="*/ 802569 h 802569"/>
                <a:gd name="connsiteX4" fmla="*/ 51 w 1123677"/>
                <a:gd name="connsiteY4" fmla="*/ 260158 h 802569"/>
                <a:gd name="connsiteX0" fmla="*/ 64 w 1123690"/>
                <a:gd name="connsiteY0" fmla="*/ 260158 h 812607"/>
                <a:gd name="connsiteX1" fmla="*/ 817597 w 1123690"/>
                <a:gd name="connsiteY1" fmla="*/ 0 h 812607"/>
                <a:gd name="connsiteX2" fmla="*/ 1123690 w 1123690"/>
                <a:gd name="connsiteY2" fmla="*/ 428625 h 812607"/>
                <a:gd name="connsiteX3" fmla="*/ 10318 w 1123690"/>
                <a:gd name="connsiteY3" fmla="*/ 812607 h 812607"/>
                <a:gd name="connsiteX4" fmla="*/ 64 w 1123690"/>
                <a:gd name="connsiteY4" fmla="*/ 260158 h 812607"/>
                <a:gd name="connsiteX0" fmla="*/ 64 w 1012898"/>
                <a:gd name="connsiteY0" fmla="*/ 260158 h 812607"/>
                <a:gd name="connsiteX1" fmla="*/ 817597 w 1012898"/>
                <a:gd name="connsiteY1" fmla="*/ 0 h 812607"/>
                <a:gd name="connsiteX2" fmla="*/ 1012898 w 1012898"/>
                <a:gd name="connsiteY2" fmla="*/ 378435 h 812607"/>
                <a:gd name="connsiteX3" fmla="*/ 10318 w 1012898"/>
                <a:gd name="connsiteY3" fmla="*/ 812607 h 812607"/>
                <a:gd name="connsiteX4" fmla="*/ 64 w 1012898"/>
                <a:gd name="connsiteY4" fmla="*/ 260158 h 812607"/>
                <a:gd name="connsiteX0" fmla="*/ 64 w 1036400"/>
                <a:gd name="connsiteY0" fmla="*/ 260158 h 812607"/>
                <a:gd name="connsiteX1" fmla="*/ 817597 w 1036400"/>
                <a:gd name="connsiteY1" fmla="*/ 0 h 812607"/>
                <a:gd name="connsiteX2" fmla="*/ 1036400 w 1036400"/>
                <a:gd name="connsiteY2" fmla="*/ 368397 h 812607"/>
                <a:gd name="connsiteX3" fmla="*/ 10318 w 1036400"/>
                <a:gd name="connsiteY3" fmla="*/ 812607 h 812607"/>
                <a:gd name="connsiteX4" fmla="*/ 64 w 1036400"/>
                <a:gd name="connsiteY4" fmla="*/ 260158 h 812607"/>
                <a:gd name="connsiteX0" fmla="*/ 86 w 1036422"/>
                <a:gd name="connsiteY0" fmla="*/ 260158 h 812607"/>
                <a:gd name="connsiteX1" fmla="*/ 817619 w 1036422"/>
                <a:gd name="connsiteY1" fmla="*/ 0 h 812607"/>
                <a:gd name="connsiteX2" fmla="*/ 1036422 w 1036422"/>
                <a:gd name="connsiteY2" fmla="*/ 368397 h 812607"/>
                <a:gd name="connsiteX3" fmla="*/ 6982 w 1036422"/>
                <a:gd name="connsiteY3" fmla="*/ 812607 h 812607"/>
                <a:gd name="connsiteX4" fmla="*/ 86 w 1036422"/>
                <a:gd name="connsiteY4" fmla="*/ 260158 h 812607"/>
                <a:gd name="connsiteX0" fmla="*/ 20165 w 1056501"/>
                <a:gd name="connsiteY0" fmla="*/ 260158 h 826501"/>
                <a:gd name="connsiteX1" fmla="*/ 837698 w 1056501"/>
                <a:gd name="connsiteY1" fmla="*/ 0 h 826501"/>
                <a:gd name="connsiteX2" fmla="*/ 1056501 w 1056501"/>
                <a:gd name="connsiteY2" fmla="*/ 368397 h 826501"/>
                <a:gd name="connsiteX3" fmla="*/ 0 w 1056501"/>
                <a:gd name="connsiteY3" fmla="*/ 826501 h 826501"/>
                <a:gd name="connsiteX4" fmla="*/ 20165 w 1056501"/>
                <a:gd name="connsiteY4" fmla="*/ 260158 h 826501"/>
                <a:gd name="connsiteX0" fmla="*/ 20165 w 1084260"/>
                <a:gd name="connsiteY0" fmla="*/ 510258 h 1076601"/>
                <a:gd name="connsiteX1" fmla="*/ 1084260 w 1084260"/>
                <a:gd name="connsiteY1" fmla="*/ 0 h 1076601"/>
                <a:gd name="connsiteX2" fmla="*/ 1056501 w 1084260"/>
                <a:gd name="connsiteY2" fmla="*/ 618497 h 1076601"/>
                <a:gd name="connsiteX3" fmla="*/ 0 w 1084260"/>
                <a:gd name="connsiteY3" fmla="*/ 1076601 h 1076601"/>
                <a:gd name="connsiteX4" fmla="*/ 20165 w 1084260"/>
                <a:gd name="connsiteY4" fmla="*/ 510258 h 1076601"/>
                <a:gd name="connsiteX0" fmla="*/ 20165 w 1279008"/>
                <a:gd name="connsiteY0" fmla="*/ 510258 h 1076601"/>
                <a:gd name="connsiteX1" fmla="*/ 1084260 w 1279008"/>
                <a:gd name="connsiteY1" fmla="*/ 0 h 1076601"/>
                <a:gd name="connsiteX2" fmla="*/ 1279008 w 1279008"/>
                <a:gd name="connsiteY2" fmla="*/ 377660 h 1076601"/>
                <a:gd name="connsiteX3" fmla="*/ 0 w 1279008"/>
                <a:gd name="connsiteY3" fmla="*/ 1076601 h 1076601"/>
                <a:gd name="connsiteX4" fmla="*/ 20165 w 1279008"/>
                <a:gd name="connsiteY4" fmla="*/ 510258 h 1076601"/>
                <a:gd name="connsiteX0" fmla="*/ 20165 w 1285021"/>
                <a:gd name="connsiteY0" fmla="*/ 510258 h 1076601"/>
                <a:gd name="connsiteX1" fmla="*/ 1084260 w 1285021"/>
                <a:gd name="connsiteY1" fmla="*/ 0 h 1076601"/>
                <a:gd name="connsiteX2" fmla="*/ 1285021 w 1285021"/>
                <a:gd name="connsiteY2" fmla="*/ 368396 h 1076601"/>
                <a:gd name="connsiteX3" fmla="*/ 0 w 1285021"/>
                <a:gd name="connsiteY3" fmla="*/ 1076601 h 1076601"/>
                <a:gd name="connsiteX4" fmla="*/ 20165 w 1285021"/>
                <a:gd name="connsiteY4" fmla="*/ 510258 h 1076601"/>
                <a:gd name="connsiteX0" fmla="*/ 13 w 1264869"/>
                <a:gd name="connsiteY0" fmla="*/ 510258 h 1095127"/>
                <a:gd name="connsiteX1" fmla="*/ 1064108 w 1264869"/>
                <a:gd name="connsiteY1" fmla="*/ 0 h 1095127"/>
                <a:gd name="connsiteX2" fmla="*/ 1264869 w 1264869"/>
                <a:gd name="connsiteY2" fmla="*/ 368396 h 1095127"/>
                <a:gd name="connsiteX3" fmla="*/ 64040 w 1264869"/>
                <a:gd name="connsiteY3" fmla="*/ 1095127 h 1095127"/>
                <a:gd name="connsiteX4" fmla="*/ 13 w 1264869"/>
                <a:gd name="connsiteY4" fmla="*/ 510258 h 1095127"/>
                <a:gd name="connsiteX0" fmla="*/ 2124 w 1266980"/>
                <a:gd name="connsiteY0" fmla="*/ 510258 h 1071969"/>
                <a:gd name="connsiteX1" fmla="*/ 1066219 w 1266980"/>
                <a:gd name="connsiteY1" fmla="*/ 0 h 1071969"/>
                <a:gd name="connsiteX2" fmla="*/ 1266980 w 1266980"/>
                <a:gd name="connsiteY2" fmla="*/ 368396 h 1071969"/>
                <a:gd name="connsiteX3" fmla="*/ 0 w 1266980"/>
                <a:gd name="connsiteY3" fmla="*/ 1071969 h 1071969"/>
                <a:gd name="connsiteX4" fmla="*/ 2124 w 1266980"/>
                <a:gd name="connsiteY4" fmla="*/ 510258 h 1071969"/>
                <a:gd name="connsiteX0" fmla="*/ 7312 w 1272168"/>
                <a:gd name="connsiteY0" fmla="*/ 510258 h 1099934"/>
                <a:gd name="connsiteX1" fmla="*/ 1071407 w 1272168"/>
                <a:gd name="connsiteY1" fmla="*/ 0 h 1099934"/>
                <a:gd name="connsiteX2" fmla="*/ 1272168 w 1272168"/>
                <a:gd name="connsiteY2" fmla="*/ 368396 h 1099934"/>
                <a:gd name="connsiteX3" fmla="*/ 0 w 1272168"/>
                <a:gd name="connsiteY3" fmla="*/ 1099934 h 1099934"/>
                <a:gd name="connsiteX4" fmla="*/ 7312 w 1272168"/>
                <a:gd name="connsiteY4" fmla="*/ 510258 h 1099934"/>
                <a:gd name="connsiteX0" fmla="*/ 21564 w 1286420"/>
                <a:gd name="connsiteY0" fmla="*/ 510258 h 1099934"/>
                <a:gd name="connsiteX1" fmla="*/ 1085659 w 1286420"/>
                <a:gd name="connsiteY1" fmla="*/ 0 h 1099934"/>
                <a:gd name="connsiteX2" fmla="*/ 1286420 w 1286420"/>
                <a:gd name="connsiteY2" fmla="*/ 368396 h 1099934"/>
                <a:gd name="connsiteX3" fmla="*/ 0 w 1286420"/>
                <a:gd name="connsiteY3" fmla="*/ 1099934 h 1099934"/>
                <a:gd name="connsiteX4" fmla="*/ 21564 w 1286420"/>
                <a:gd name="connsiteY4" fmla="*/ 510258 h 1099934"/>
                <a:gd name="connsiteX0" fmla="*/ 209 w 1287867"/>
                <a:gd name="connsiteY0" fmla="*/ 510258 h 1099934"/>
                <a:gd name="connsiteX1" fmla="*/ 1087106 w 1287867"/>
                <a:gd name="connsiteY1" fmla="*/ 0 h 1099934"/>
                <a:gd name="connsiteX2" fmla="*/ 1287867 w 1287867"/>
                <a:gd name="connsiteY2" fmla="*/ 368396 h 1099934"/>
                <a:gd name="connsiteX3" fmla="*/ 1447 w 1287867"/>
                <a:gd name="connsiteY3" fmla="*/ 1099934 h 1099934"/>
                <a:gd name="connsiteX4" fmla="*/ 209 w 1287867"/>
                <a:gd name="connsiteY4" fmla="*/ 510258 h 1099934"/>
                <a:gd name="connsiteX0" fmla="*/ 106 w 1287764"/>
                <a:gd name="connsiteY0" fmla="*/ 510258 h 1093869"/>
                <a:gd name="connsiteX1" fmla="*/ 1087003 w 1287764"/>
                <a:gd name="connsiteY1" fmla="*/ 0 h 1093869"/>
                <a:gd name="connsiteX2" fmla="*/ 1287764 w 1287764"/>
                <a:gd name="connsiteY2" fmla="*/ 368396 h 1093869"/>
                <a:gd name="connsiteX3" fmla="*/ 5281 w 1287764"/>
                <a:gd name="connsiteY3" fmla="*/ 1093869 h 1093869"/>
                <a:gd name="connsiteX4" fmla="*/ 106 w 1287764"/>
                <a:gd name="connsiteY4" fmla="*/ 510258 h 1093869"/>
                <a:gd name="connsiteX0" fmla="*/ 2699 w 1290357"/>
                <a:gd name="connsiteY0" fmla="*/ 510258 h 1096902"/>
                <a:gd name="connsiteX1" fmla="*/ 1089596 w 1290357"/>
                <a:gd name="connsiteY1" fmla="*/ 0 h 1096902"/>
                <a:gd name="connsiteX2" fmla="*/ 1290357 w 1290357"/>
                <a:gd name="connsiteY2" fmla="*/ 368396 h 1096902"/>
                <a:gd name="connsiteX3" fmla="*/ 0 w 1290357"/>
                <a:gd name="connsiteY3" fmla="*/ 1096902 h 1096902"/>
                <a:gd name="connsiteX4" fmla="*/ 2699 w 1290357"/>
                <a:gd name="connsiteY4" fmla="*/ 510258 h 109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357" h="1096902">
                  <a:moveTo>
                    <a:pt x="2699" y="510258"/>
                  </a:moveTo>
                  <a:lnTo>
                    <a:pt x="1089596" y="0"/>
                  </a:lnTo>
                  <a:lnTo>
                    <a:pt x="1290357" y="368396"/>
                  </a:lnTo>
                  <a:lnTo>
                    <a:pt x="0" y="1096902"/>
                  </a:lnTo>
                  <a:cubicBezTo>
                    <a:pt x="1058" y="912752"/>
                    <a:pt x="1641" y="694408"/>
                    <a:pt x="2699" y="510258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7" name="Rectangle 5">
              <a:extLst>
                <a:ext uri="{FF2B5EF4-FFF2-40B4-BE49-F238E27FC236}">
                  <a16:creationId xmlns:a16="http://schemas.microsoft.com/office/drawing/2014/main" id="{AAE5AADA-8D20-C8E5-39AF-16BEF5CE36D7}"/>
                </a:ext>
              </a:extLst>
            </p:cNvPr>
            <p:cNvSpPr/>
            <p:nvPr/>
          </p:nvSpPr>
          <p:spPr>
            <a:xfrm>
              <a:off x="1695780" y="3471465"/>
              <a:ext cx="2698670" cy="425039"/>
            </a:xfrm>
            <a:custGeom>
              <a:avLst/>
              <a:gdLst>
                <a:gd name="connsiteX0" fmla="*/ 0 w 619125"/>
                <a:gd name="connsiteY0" fmla="*/ 0 h 406400"/>
                <a:gd name="connsiteX1" fmla="*/ 619125 w 619125"/>
                <a:gd name="connsiteY1" fmla="*/ 0 h 406400"/>
                <a:gd name="connsiteX2" fmla="*/ 619125 w 619125"/>
                <a:gd name="connsiteY2" fmla="*/ 406400 h 406400"/>
                <a:gd name="connsiteX3" fmla="*/ 0 w 619125"/>
                <a:gd name="connsiteY3" fmla="*/ 406400 h 406400"/>
                <a:gd name="connsiteX4" fmla="*/ 0 w 619125"/>
                <a:gd name="connsiteY4" fmla="*/ 0 h 406400"/>
                <a:gd name="connsiteX0" fmla="*/ 0 w 962025"/>
                <a:gd name="connsiteY0" fmla="*/ 73025 h 479425"/>
                <a:gd name="connsiteX1" fmla="*/ 962025 w 962025"/>
                <a:gd name="connsiteY1" fmla="*/ 0 h 479425"/>
                <a:gd name="connsiteX2" fmla="*/ 619125 w 962025"/>
                <a:gd name="connsiteY2" fmla="*/ 479425 h 479425"/>
                <a:gd name="connsiteX3" fmla="*/ 0 w 962025"/>
                <a:gd name="connsiteY3" fmla="*/ 479425 h 479425"/>
                <a:gd name="connsiteX4" fmla="*/ 0 w 962025"/>
                <a:gd name="connsiteY4" fmla="*/ 73025 h 479425"/>
                <a:gd name="connsiteX0" fmla="*/ 0 w 1901825"/>
                <a:gd name="connsiteY0" fmla="*/ 73025 h 479425"/>
                <a:gd name="connsiteX1" fmla="*/ 962025 w 1901825"/>
                <a:gd name="connsiteY1" fmla="*/ 0 h 479425"/>
                <a:gd name="connsiteX2" fmla="*/ 1901825 w 1901825"/>
                <a:gd name="connsiteY2" fmla="*/ 104775 h 479425"/>
                <a:gd name="connsiteX3" fmla="*/ 0 w 1901825"/>
                <a:gd name="connsiteY3" fmla="*/ 479425 h 479425"/>
                <a:gd name="connsiteX4" fmla="*/ 0 w 1901825"/>
                <a:gd name="connsiteY4" fmla="*/ 73025 h 479425"/>
                <a:gd name="connsiteX0" fmla="*/ 0 w 1901825"/>
                <a:gd name="connsiteY0" fmla="*/ 73025 h 336550"/>
                <a:gd name="connsiteX1" fmla="*/ 962025 w 1901825"/>
                <a:gd name="connsiteY1" fmla="*/ 0 h 336550"/>
                <a:gd name="connsiteX2" fmla="*/ 1901825 w 1901825"/>
                <a:gd name="connsiteY2" fmla="*/ 104775 h 336550"/>
                <a:gd name="connsiteX3" fmla="*/ 946150 w 1901825"/>
                <a:gd name="connsiteY3" fmla="*/ 336550 h 336550"/>
                <a:gd name="connsiteX4" fmla="*/ 0 w 1901825"/>
                <a:gd name="connsiteY4" fmla="*/ 73025 h 336550"/>
                <a:gd name="connsiteX0" fmla="*/ 0 w 1914525"/>
                <a:gd name="connsiteY0" fmla="*/ 76200 h 339725"/>
                <a:gd name="connsiteX1" fmla="*/ 962025 w 1914525"/>
                <a:gd name="connsiteY1" fmla="*/ 3175 h 339725"/>
                <a:gd name="connsiteX2" fmla="*/ 1914525 w 1914525"/>
                <a:gd name="connsiteY2" fmla="*/ 0 h 339725"/>
                <a:gd name="connsiteX3" fmla="*/ 946150 w 1914525"/>
                <a:gd name="connsiteY3" fmla="*/ 339725 h 339725"/>
                <a:gd name="connsiteX4" fmla="*/ 0 w 1914525"/>
                <a:gd name="connsiteY4" fmla="*/ 76200 h 339725"/>
                <a:gd name="connsiteX0" fmla="*/ 0 w 1895475"/>
                <a:gd name="connsiteY0" fmla="*/ 73025 h 336550"/>
                <a:gd name="connsiteX1" fmla="*/ 962025 w 1895475"/>
                <a:gd name="connsiteY1" fmla="*/ 0 h 336550"/>
                <a:gd name="connsiteX2" fmla="*/ 1895475 w 1895475"/>
                <a:gd name="connsiteY2" fmla="*/ 101600 h 336550"/>
                <a:gd name="connsiteX3" fmla="*/ 946150 w 1895475"/>
                <a:gd name="connsiteY3" fmla="*/ 336550 h 336550"/>
                <a:gd name="connsiteX4" fmla="*/ 0 w 1895475"/>
                <a:gd name="connsiteY4" fmla="*/ 73025 h 336550"/>
                <a:gd name="connsiteX0" fmla="*/ 0 w 1899160"/>
                <a:gd name="connsiteY0" fmla="*/ 77754 h 336550"/>
                <a:gd name="connsiteX1" fmla="*/ 965710 w 1899160"/>
                <a:gd name="connsiteY1" fmla="*/ 0 h 336550"/>
                <a:gd name="connsiteX2" fmla="*/ 1899160 w 1899160"/>
                <a:gd name="connsiteY2" fmla="*/ 101600 h 336550"/>
                <a:gd name="connsiteX3" fmla="*/ 949835 w 1899160"/>
                <a:gd name="connsiteY3" fmla="*/ 336550 h 336550"/>
                <a:gd name="connsiteX4" fmla="*/ 0 w 1899160"/>
                <a:gd name="connsiteY4" fmla="*/ 77754 h 336550"/>
                <a:gd name="connsiteX0" fmla="*/ 0 w 1899160"/>
                <a:gd name="connsiteY0" fmla="*/ 77754 h 383840"/>
                <a:gd name="connsiteX1" fmla="*/ 965710 w 1899160"/>
                <a:gd name="connsiteY1" fmla="*/ 0 h 383840"/>
                <a:gd name="connsiteX2" fmla="*/ 1899160 w 1899160"/>
                <a:gd name="connsiteY2" fmla="*/ 101600 h 383840"/>
                <a:gd name="connsiteX3" fmla="*/ 957205 w 1899160"/>
                <a:gd name="connsiteY3" fmla="*/ 383840 h 383840"/>
                <a:gd name="connsiteX4" fmla="*/ 0 w 1899160"/>
                <a:gd name="connsiteY4" fmla="*/ 77754 h 38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9160" h="383840">
                  <a:moveTo>
                    <a:pt x="0" y="77754"/>
                  </a:moveTo>
                  <a:lnTo>
                    <a:pt x="965710" y="0"/>
                  </a:lnTo>
                  <a:lnTo>
                    <a:pt x="1899160" y="101600"/>
                  </a:lnTo>
                  <a:lnTo>
                    <a:pt x="957205" y="383840"/>
                  </a:lnTo>
                  <a:lnTo>
                    <a:pt x="0" y="7775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8" name="Rectangle 4">
              <a:extLst>
                <a:ext uri="{FF2B5EF4-FFF2-40B4-BE49-F238E27FC236}">
                  <a16:creationId xmlns:a16="http://schemas.microsoft.com/office/drawing/2014/main" id="{82F45C98-7F6F-0CA3-D569-6FA51FD49060}"/>
                </a:ext>
              </a:extLst>
            </p:cNvPr>
            <p:cNvSpPr/>
            <p:nvPr/>
          </p:nvSpPr>
          <p:spPr>
            <a:xfrm>
              <a:off x="3053349" y="3580456"/>
              <a:ext cx="1697074" cy="869057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7086 w 1316947"/>
                <a:gd name="connsiteY0" fmla="*/ 224719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7086 w 1316947"/>
                <a:gd name="connsiteY4" fmla="*/ 224719 h 666750"/>
                <a:gd name="connsiteX0" fmla="*/ 3175 w 1313036"/>
                <a:gd name="connsiteY0" fmla="*/ 224719 h 777169"/>
                <a:gd name="connsiteX1" fmla="*/ 960611 w 1313036"/>
                <a:gd name="connsiteY1" fmla="*/ 0 h 777169"/>
                <a:gd name="connsiteX2" fmla="*/ 1313036 w 1313036"/>
                <a:gd name="connsiteY2" fmla="*/ 438150 h 777169"/>
                <a:gd name="connsiteX3" fmla="*/ 0 w 1313036"/>
                <a:gd name="connsiteY3" fmla="*/ 777169 h 777169"/>
                <a:gd name="connsiteX4" fmla="*/ 3175 w 1313036"/>
                <a:gd name="connsiteY4" fmla="*/ 224719 h 777169"/>
                <a:gd name="connsiteX0" fmla="*/ 3175 w 1219167"/>
                <a:gd name="connsiteY0" fmla="*/ 224719 h 777169"/>
                <a:gd name="connsiteX1" fmla="*/ 960611 w 1219167"/>
                <a:gd name="connsiteY1" fmla="*/ 0 h 777169"/>
                <a:gd name="connsiteX2" fmla="*/ 1219167 w 1219167"/>
                <a:gd name="connsiteY2" fmla="*/ 418074 h 777169"/>
                <a:gd name="connsiteX3" fmla="*/ 0 w 1219167"/>
                <a:gd name="connsiteY3" fmla="*/ 777169 h 777169"/>
                <a:gd name="connsiteX4" fmla="*/ 3175 w 1219167"/>
                <a:gd name="connsiteY4" fmla="*/ 224719 h 777169"/>
                <a:gd name="connsiteX0" fmla="*/ 3175 w 1168321"/>
                <a:gd name="connsiteY0" fmla="*/ 224719 h 777169"/>
                <a:gd name="connsiteX1" fmla="*/ 960611 w 1168321"/>
                <a:gd name="connsiteY1" fmla="*/ 0 h 777169"/>
                <a:gd name="connsiteX2" fmla="*/ 1168321 w 1168321"/>
                <a:gd name="connsiteY2" fmla="*/ 337769 h 777169"/>
                <a:gd name="connsiteX3" fmla="*/ 0 w 1168321"/>
                <a:gd name="connsiteY3" fmla="*/ 777169 h 777169"/>
                <a:gd name="connsiteX4" fmla="*/ 3175 w 1168321"/>
                <a:gd name="connsiteY4" fmla="*/ 224719 h 777169"/>
                <a:gd name="connsiteX0" fmla="*/ 3175 w 1203522"/>
                <a:gd name="connsiteY0" fmla="*/ 224719 h 777169"/>
                <a:gd name="connsiteX1" fmla="*/ 960611 w 1203522"/>
                <a:gd name="connsiteY1" fmla="*/ 0 h 777169"/>
                <a:gd name="connsiteX2" fmla="*/ 1203522 w 1203522"/>
                <a:gd name="connsiteY2" fmla="*/ 387960 h 777169"/>
                <a:gd name="connsiteX3" fmla="*/ 0 w 1203522"/>
                <a:gd name="connsiteY3" fmla="*/ 777169 h 777169"/>
                <a:gd name="connsiteX4" fmla="*/ 3175 w 1203522"/>
                <a:gd name="connsiteY4" fmla="*/ 224719 h 777169"/>
                <a:gd name="connsiteX0" fmla="*/ 9 w 1200356"/>
                <a:gd name="connsiteY0" fmla="*/ 224719 h 636636"/>
                <a:gd name="connsiteX1" fmla="*/ 957445 w 1200356"/>
                <a:gd name="connsiteY1" fmla="*/ 0 h 636636"/>
                <a:gd name="connsiteX2" fmla="*/ 1200356 w 1200356"/>
                <a:gd name="connsiteY2" fmla="*/ 387960 h 636636"/>
                <a:gd name="connsiteX3" fmla="*/ 90703 w 1200356"/>
                <a:gd name="connsiteY3" fmla="*/ 636636 h 636636"/>
                <a:gd name="connsiteX4" fmla="*/ 9 w 1200356"/>
                <a:gd name="connsiteY4" fmla="*/ 224719 h 636636"/>
                <a:gd name="connsiteX0" fmla="*/ 239 w 1200586"/>
                <a:gd name="connsiteY0" fmla="*/ 224719 h 762112"/>
                <a:gd name="connsiteX1" fmla="*/ 957675 w 1200586"/>
                <a:gd name="connsiteY1" fmla="*/ 0 h 762112"/>
                <a:gd name="connsiteX2" fmla="*/ 1200586 w 1200586"/>
                <a:gd name="connsiteY2" fmla="*/ 387960 h 762112"/>
                <a:gd name="connsiteX3" fmla="*/ 975 w 1200586"/>
                <a:gd name="connsiteY3" fmla="*/ 762112 h 762112"/>
                <a:gd name="connsiteX4" fmla="*/ 239 w 1200586"/>
                <a:gd name="connsiteY4" fmla="*/ 224719 h 762112"/>
                <a:gd name="connsiteX0" fmla="*/ 30790 w 1199611"/>
                <a:gd name="connsiteY0" fmla="*/ 305630 h 762112"/>
                <a:gd name="connsiteX1" fmla="*/ 956700 w 1199611"/>
                <a:gd name="connsiteY1" fmla="*/ 0 h 762112"/>
                <a:gd name="connsiteX2" fmla="*/ 1199611 w 1199611"/>
                <a:gd name="connsiteY2" fmla="*/ 387960 h 762112"/>
                <a:gd name="connsiteX3" fmla="*/ 0 w 1199611"/>
                <a:gd name="connsiteY3" fmla="*/ 762112 h 762112"/>
                <a:gd name="connsiteX4" fmla="*/ 30790 w 1199611"/>
                <a:gd name="connsiteY4" fmla="*/ 305630 h 762112"/>
                <a:gd name="connsiteX0" fmla="*/ 79 w 1207432"/>
                <a:gd name="connsiteY0" fmla="*/ 242700 h 762112"/>
                <a:gd name="connsiteX1" fmla="*/ 964521 w 1207432"/>
                <a:gd name="connsiteY1" fmla="*/ 0 h 762112"/>
                <a:gd name="connsiteX2" fmla="*/ 1207432 w 1207432"/>
                <a:gd name="connsiteY2" fmla="*/ 387960 h 762112"/>
                <a:gd name="connsiteX3" fmla="*/ 7821 w 1207432"/>
                <a:gd name="connsiteY3" fmla="*/ 762112 h 762112"/>
                <a:gd name="connsiteX4" fmla="*/ 79 w 1207432"/>
                <a:gd name="connsiteY4" fmla="*/ 242700 h 762112"/>
                <a:gd name="connsiteX0" fmla="*/ 119 w 1207472"/>
                <a:gd name="connsiteY0" fmla="*/ 242700 h 789082"/>
                <a:gd name="connsiteX1" fmla="*/ 964561 w 1207472"/>
                <a:gd name="connsiteY1" fmla="*/ 0 h 789082"/>
                <a:gd name="connsiteX2" fmla="*/ 1207472 w 1207472"/>
                <a:gd name="connsiteY2" fmla="*/ 387960 h 789082"/>
                <a:gd name="connsiteX3" fmla="*/ 4358 w 1207472"/>
                <a:gd name="connsiteY3" fmla="*/ 789082 h 789082"/>
                <a:gd name="connsiteX4" fmla="*/ 119 w 1207472"/>
                <a:gd name="connsiteY4" fmla="*/ 242700 h 789082"/>
                <a:gd name="connsiteX0" fmla="*/ 50 w 1207403"/>
                <a:gd name="connsiteY0" fmla="*/ 242700 h 784821"/>
                <a:gd name="connsiteX1" fmla="*/ 964492 w 1207403"/>
                <a:gd name="connsiteY1" fmla="*/ 0 h 784821"/>
                <a:gd name="connsiteX2" fmla="*/ 1207403 w 1207403"/>
                <a:gd name="connsiteY2" fmla="*/ 387960 h 784821"/>
                <a:gd name="connsiteX3" fmla="*/ 14250 w 1207403"/>
                <a:gd name="connsiteY3" fmla="*/ 784821 h 784821"/>
                <a:gd name="connsiteX4" fmla="*/ 50 w 1207403"/>
                <a:gd name="connsiteY4" fmla="*/ 242700 h 784821"/>
                <a:gd name="connsiteX0" fmla="*/ 2403 w 1193153"/>
                <a:gd name="connsiteY0" fmla="*/ 246960 h 784821"/>
                <a:gd name="connsiteX1" fmla="*/ 950242 w 1193153"/>
                <a:gd name="connsiteY1" fmla="*/ 0 h 784821"/>
                <a:gd name="connsiteX2" fmla="*/ 1193153 w 1193153"/>
                <a:gd name="connsiteY2" fmla="*/ 387960 h 784821"/>
                <a:gd name="connsiteX3" fmla="*/ 0 w 1193153"/>
                <a:gd name="connsiteY3" fmla="*/ 784821 h 784821"/>
                <a:gd name="connsiteX4" fmla="*/ 2403 w 1193153"/>
                <a:gd name="connsiteY4" fmla="*/ 246960 h 784821"/>
                <a:gd name="connsiteX0" fmla="*/ 227 w 1194297"/>
                <a:gd name="connsiteY0" fmla="*/ 238438 h 784821"/>
                <a:gd name="connsiteX1" fmla="*/ 951386 w 1194297"/>
                <a:gd name="connsiteY1" fmla="*/ 0 h 784821"/>
                <a:gd name="connsiteX2" fmla="*/ 1194297 w 1194297"/>
                <a:gd name="connsiteY2" fmla="*/ 387960 h 784821"/>
                <a:gd name="connsiteX3" fmla="*/ 1144 w 1194297"/>
                <a:gd name="connsiteY3" fmla="*/ 784821 h 784821"/>
                <a:gd name="connsiteX4" fmla="*/ 227 w 1194297"/>
                <a:gd name="connsiteY4" fmla="*/ 238438 h 784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4297" h="784821">
                  <a:moveTo>
                    <a:pt x="227" y="238438"/>
                  </a:moveTo>
                  <a:lnTo>
                    <a:pt x="951386" y="0"/>
                  </a:lnTo>
                  <a:lnTo>
                    <a:pt x="1194297" y="387960"/>
                  </a:lnTo>
                  <a:lnTo>
                    <a:pt x="1144" y="784821"/>
                  </a:lnTo>
                  <a:cubicBezTo>
                    <a:pt x="2202" y="600671"/>
                    <a:pt x="-831" y="422588"/>
                    <a:pt x="227" y="23843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9" name="Rectangle 4">
              <a:extLst>
                <a:ext uri="{FF2B5EF4-FFF2-40B4-BE49-F238E27FC236}">
                  <a16:creationId xmlns:a16="http://schemas.microsoft.com/office/drawing/2014/main" id="{56D249AB-7A4C-D5B7-820F-7396804A8296}"/>
                </a:ext>
              </a:extLst>
            </p:cNvPr>
            <p:cNvSpPr/>
            <p:nvPr/>
          </p:nvSpPr>
          <p:spPr>
            <a:xfrm flipH="1">
              <a:off x="1337479" y="3552329"/>
              <a:ext cx="1727725" cy="899828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3175 w 1316947"/>
                <a:gd name="connsiteY0" fmla="*/ 139700 h 692150"/>
                <a:gd name="connsiteX1" fmla="*/ 817351 w 1316947"/>
                <a:gd name="connsiteY1" fmla="*/ 0 h 692150"/>
                <a:gd name="connsiteX2" fmla="*/ 1316947 w 1316947"/>
                <a:gd name="connsiteY2" fmla="*/ 463550 h 692150"/>
                <a:gd name="connsiteX3" fmla="*/ 0 w 1316947"/>
                <a:gd name="connsiteY3" fmla="*/ 692150 h 692150"/>
                <a:gd name="connsiteX4" fmla="*/ 3175 w 1316947"/>
                <a:gd name="connsiteY4" fmla="*/ 139700 h 692150"/>
                <a:gd name="connsiteX0" fmla="*/ 3175 w 840003"/>
                <a:gd name="connsiteY0" fmla="*/ 139700 h 692150"/>
                <a:gd name="connsiteX1" fmla="*/ 817351 w 840003"/>
                <a:gd name="connsiteY1" fmla="*/ 0 h 692150"/>
                <a:gd name="connsiteX2" fmla="*/ 840003 w 840003"/>
                <a:gd name="connsiteY2" fmla="*/ 368300 h 692150"/>
                <a:gd name="connsiteX3" fmla="*/ 0 w 840003"/>
                <a:gd name="connsiteY3" fmla="*/ 692150 h 692150"/>
                <a:gd name="connsiteX4" fmla="*/ 3175 w 840003"/>
                <a:gd name="connsiteY4" fmla="*/ 139700 h 692150"/>
                <a:gd name="connsiteX0" fmla="*/ 3175 w 1123444"/>
                <a:gd name="connsiteY0" fmla="*/ 139700 h 692150"/>
                <a:gd name="connsiteX1" fmla="*/ 817351 w 1123444"/>
                <a:gd name="connsiteY1" fmla="*/ 0 h 692150"/>
                <a:gd name="connsiteX2" fmla="*/ 1123444 w 1123444"/>
                <a:gd name="connsiteY2" fmla="*/ 428625 h 692150"/>
                <a:gd name="connsiteX3" fmla="*/ 0 w 1123444"/>
                <a:gd name="connsiteY3" fmla="*/ 692150 h 692150"/>
                <a:gd name="connsiteX4" fmla="*/ 3175 w 1123444"/>
                <a:gd name="connsiteY4" fmla="*/ 139700 h 692150"/>
                <a:gd name="connsiteX0" fmla="*/ 65 w 1120334"/>
                <a:gd name="connsiteY0" fmla="*/ 139700 h 802569"/>
                <a:gd name="connsiteX1" fmla="*/ 814241 w 1120334"/>
                <a:gd name="connsiteY1" fmla="*/ 0 h 802569"/>
                <a:gd name="connsiteX2" fmla="*/ 1120334 w 1120334"/>
                <a:gd name="connsiteY2" fmla="*/ 428625 h 802569"/>
                <a:gd name="connsiteX3" fmla="*/ 10319 w 1120334"/>
                <a:gd name="connsiteY3" fmla="*/ 802569 h 802569"/>
                <a:gd name="connsiteX4" fmla="*/ 65 w 1120334"/>
                <a:gd name="connsiteY4" fmla="*/ 139700 h 802569"/>
                <a:gd name="connsiteX0" fmla="*/ 87 w 1116998"/>
                <a:gd name="connsiteY0" fmla="*/ 265177 h 802569"/>
                <a:gd name="connsiteX1" fmla="*/ 810905 w 1116998"/>
                <a:gd name="connsiteY1" fmla="*/ 0 h 802569"/>
                <a:gd name="connsiteX2" fmla="*/ 1116998 w 1116998"/>
                <a:gd name="connsiteY2" fmla="*/ 428625 h 802569"/>
                <a:gd name="connsiteX3" fmla="*/ 6983 w 1116998"/>
                <a:gd name="connsiteY3" fmla="*/ 802569 h 802569"/>
                <a:gd name="connsiteX4" fmla="*/ 87 w 1116998"/>
                <a:gd name="connsiteY4" fmla="*/ 265177 h 802569"/>
                <a:gd name="connsiteX0" fmla="*/ 51 w 1123677"/>
                <a:gd name="connsiteY0" fmla="*/ 260158 h 802569"/>
                <a:gd name="connsiteX1" fmla="*/ 817584 w 1123677"/>
                <a:gd name="connsiteY1" fmla="*/ 0 h 802569"/>
                <a:gd name="connsiteX2" fmla="*/ 1123677 w 1123677"/>
                <a:gd name="connsiteY2" fmla="*/ 428625 h 802569"/>
                <a:gd name="connsiteX3" fmla="*/ 13662 w 1123677"/>
                <a:gd name="connsiteY3" fmla="*/ 802569 h 802569"/>
                <a:gd name="connsiteX4" fmla="*/ 51 w 1123677"/>
                <a:gd name="connsiteY4" fmla="*/ 260158 h 802569"/>
                <a:gd name="connsiteX0" fmla="*/ 64 w 1123690"/>
                <a:gd name="connsiteY0" fmla="*/ 260158 h 812607"/>
                <a:gd name="connsiteX1" fmla="*/ 817597 w 1123690"/>
                <a:gd name="connsiteY1" fmla="*/ 0 h 812607"/>
                <a:gd name="connsiteX2" fmla="*/ 1123690 w 1123690"/>
                <a:gd name="connsiteY2" fmla="*/ 428625 h 812607"/>
                <a:gd name="connsiteX3" fmla="*/ 10318 w 1123690"/>
                <a:gd name="connsiteY3" fmla="*/ 812607 h 812607"/>
                <a:gd name="connsiteX4" fmla="*/ 64 w 1123690"/>
                <a:gd name="connsiteY4" fmla="*/ 260158 h 812607"/>
                <a:gd name="connsiteX0" fmla="*/ 64 w 1012898"/>
                <a:gd name="connsiteY0" fmla="*/ 260158 h 812607"/>
                <a:gd name="connsiteX1" fmla="*/ 817597 w 1012898"/>
                <a:gd name="connsiteY1" fmla="*/ 0 h 812607"/>
                <a:gd name="connsiteX2" fmla="*/ 1012898 w 1012898"/>
                <a:gd name="connsiteY2" fmla="*/ 378435 h 812607"/>
                <a:gd name="connsiteX3" fmla="*/ 10318 w 1012898"/>
                <a:gd name="connsiteY3" fmla="*/ 812607 h 812607"/>
                <a:gd name="connsiteX4" fmla="*/ 64 w 1012898"/>
                <a:gd name="connsiteY4" fmla="*/ 260158 h 812607"/>
                <a:gd name="connsiteX0" fmla="*/ 64 w 1036400"/>
                <a:gd name="connsiteY0" fmla="*/ 260158 h 812607"/>
                <a:gd name="connsiteX1" fmla="*/ 817597 w 1036400"/>
                <a:gd name="connsiteY1" fmla="*/ 0 h 812607"/>
                <a:gd name="connsiteX2" fmla="*/ 1036400 w 1036400"/>
                <a:gd name="connsiteY2" fmla="*/ 368397 h 812607"/>
                <a:gd name="connsiteX3" fmla="*/ 10318 w 1036400"/>
                <a:gd name="connsiteY3" fmla="*/ 812607 h 812607"/>
                <a:gd name="connsiteX4" fmla="*/ 64 w 1036400"/>
                <a:gd name="connsiteY4" fmla="*/ 260158 h 812607"/>
                <a:gd name="connsiteX0" fmla="*/ 86 w 1036422"/>
                <a:gd name="connsiteY0" fmla="*/ 260158 h 812607"/>
                <a:gd name="connsiteX1" fmla="*/ 817619 w 1036422"/>
                <a:gd name="connsiteY1" fmla="*/ 0 h 812607"/>
                <a:gd name="connsiteX2" fmla="*/ 1036422 w 1036422"/>
                <a:gd name="connsiteY2" fmla="*/ 368397 h 812607"/>
                <a:gd name="connsiteX3" fmla="*/ 6982 w 1036422"/>
                <a:gd name="connsiteY3" fmla="*/ 812607 h 812607"/>
                <a:gd name="connsiteX4" fmla="*/ 86 w 1036422"/>
                <a:gd name="connsiteY4" fmla="*/ 260158 h 812607"/>
                <a:gd name="connsiteX0" fmla="*/ 7355 w 1043691"/>
                <a:gd name="connsiteY0" fmla="*/ 260158 h 812607"/>
                <a:gd name="connsiteX1" fmla="*/ 824888 w 1043691"/>
                <a:gd name="connsiteY1" fmla="*/ 0 h 812607"/>
                <a:gd name="connsiteX2" fmla="*/ 1043691 w 1043691"/>
                <a:gd name="connsiteY2" fmla="*/ 368397 h 812607"/>
                <a:gd name="connsiteX3" fmla="*/ 0 w 1043691"/>
                <a:gd name="connsiteY3" fmla="*/ 812607 h 812607"/>
                <a:gd name="connsiteX4" fmla="*/ 7355 w 1043691"/>
                <a:gd name="connsiteY4" fmla="*/ 260158 h 81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3691" h="812607">
                  <a:moveTo>
                    <a:pt x="7355" y="260158"/>
                  </a:moveTo>
                  <a:lnTo>
                    <a:pt x="824888" y="0"/>
                  </a:lnTo>
                  <a:lnTo>
                    <a:pt x="1043691" y="368397"/>
                  </a:lnTo>
                  <a:lnTo>
                    <a:pt x="0" y="812607"/>
                  </a:lnTo>
                  <a:cubicBezTo>
                    <a:pt x="1058" y="628457"/>
                    <a:pt x="6297" y="444308"/>
                    <a:pt x="7355" y="260158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0" name="Rectangle 5">
              <a:extLst>
                <a:ext uri="{FF2B5EF4-FFF2-40B4-BE49-F238E27FC236}">
                  <a16:creationId xmlns:a16="http://schemas.microsoft.com/office/drawing/2014/main" id="{E8D53E3E-BC52-DABE-1AF8-1CEEC5F1C071}"/>
                </a:ext>
              </a:extLst>
            </p:cNvPr>
            <p:cNvSpPr/>
            <p:nvPr/>
          </p:nvSpPr>
          <p:spPr>
            <a:xfrm>
              <a:off x="2100383" y="2950481"/>
              <a:ext cx="1877881" cy="333426"/>
            </a:xfrm>
            <a:custGeom>
              <a:avLst/>
              <a:gdLst>
                <a:gd name="connsiteX0" fmla="*/ 0 w 619125"/>
                <a:gd name="connsiteY0" fmla="*/ 0 h 406400"/>
                <a:gd name="connsiteX1" fmla="*/ 619125 w 619125"/>
                <a:gd name="connsiteY1" fmla="*/ 0 h 406400"/>
                <a:gd name="connsiteX2" fmla="*/ 619125 w 619125"/>
                <a:gd name="connsiteY2" fmla="*/ 406400 h 406400"/>
                <a:gd name="connsiteX3" fmla="*/ 0 w 619125"/>
                <a:gd name="connsiteY3" fmla="*/ 406400 h 406400"/>
                <a:gd name="connsiteX4" fmla="*/ 0 w 619125"/>
                <a:gd name="connsiteY4" fmla="*/ 0 h 406400"/>
                <a:gd name="connsiteX0" fmla="*/ 0 w 962025"/>
                <a:gd name="connsiteY0" fmla="*/ 73025 h 479425"/>
                <a:gd name="connsiteX1" fmla="*/ 962025 w 962025"/>
                <a:gd name="connsiteY1" fmla="*/ 0 h 479425"/>
                <a:gd name="connsiteX2" fmla="*/ 619125 w 962025"/>
                <a:gd name="connsiteY2" fmla="*/ 479425 h 479425"/>
                <a:gd name="connsiteX3" fmla="*/ 0 w 962025"/>
                <a:gd name="connsiteY3" fmla="*/ 479425 h 479425"/>
                <a:gd name="connsiteX4" fmla="*/ 0 w 962025"/>
                <a:gd name="connsiteY4" fmla="*/ 73025 h 479425"/>
                <a:gd name="connsiteX0" fmla="*/ 0 w 1901825"/>
                <a:gd name="connsiteY0" fmla="*/ 73025 h 479425"/>
                <a:gd name="connsiteX1" fmla="*/ 962025 w 1901825"/>
                <a:gd name="connsiteY1" fmla="*/ 0 h 479425"/>
                <a:gd name="connsiteX2" fmla="*/ 1901825 w 1901825"/>
                <a:gd name="connsiteY2" fmla="*/ 104775 h 479425"/>
                <a:gd name="connsiteX3" fmla="*/ 0 w 1901825"/>
                <a:gd name="connsiteY3" fmla="*/ 479425 h 479425"/>
                <a:gd name="connsiteX4" fmla="*/ 0 w 1901825"/>
                <a:gd name="connsiteY4" fmla="*/ 73025 h 479425"/>
                <a:gd name="connsiteX0" fmla="*/ 0 w 1901825"/>
                <a:gd name="connsiteY0" fmla="*/ 73025 h 336550"/>
                <a:gd name="connsiteX1" fmla="*/ 962025 w 1901825"/>
                <a:gd name="connsiteY1" fmla="*/ 0 h 336550"/>
                <a:gd name="connsiteX2" fmla="*/ 1901825 w 1901825"/>
                <a:gd name="connsiteY2" fmla="*/ 104775 h 336550"/>
                <a:gd name="connsiteX3" fmla="*/ 946150 w 1901825"/>
                <a:gd name="connsiteY3" fmla="*/ 336550 h 336550"/>
                <a:gd name="connsiteX4" fmla="*/ 0 w 1901825"/>
                <a:gd name="connsiteY4" fmla="*/ 73025 h 336550"/>
                <a:gd name="connsiteX0" fmla="*/ 0 w 1914525"/>
                <a:gd name="connsiteY0" fmla="*/ 76200 h 339725"/>
                <a:gd name="connsiteX1" fmla="*/ 962025 w 1914525"/>
                <a:gd name="connsiteY1" fmla="*/ 3175 h 339725"/>
                <a:gd name="connsiteX2" fmla="*/ 1914525 w 1914525"/>
                <a:gd name="connsiteY2" fmla="*/ 0 h 339725"/>
                <a:gd name="connsiteX3" fmla="*/ 946150 w 1914525"/>
                <a:gd name="connsiteY3" fmla="*/ 339725 h 339725"/>
                <a:gd name="connsiteX4" fmla="*/ 0 w 1914525"/>
                <a:gd name="connsiteY4" fmla="*/ 76200 h 339725"/>
                <a:gd name="connsiteX0" fmla="*/ 0 w 1895475"/>
                <a:gd name="connsiteY0" fmla="*/ 73025 h 336550"/>
                <a:gd name="connsiteX1" fmla="*/ 962025 w 1895475"/>
                <a:gd name="connsiteY1" fmla="*/ 0 h 336550"/>
                <a:gd name="connsiteX2" fmla="*/ 1895475 w 1895475"/>
                <a:gd name="connsiteY2" fmla="*/ 101600 h 336550"/>
                <a:gd name="connsiteX3" fmla="*/ 946150 w 1895475"/>
                <a:gd name="connsiteY3" fmla="*/ 336550 h 336550"/>
                <a:gd name="connsiteX4" fmla="*/ 0 w 1895475"/>
                <a:gd name="connsiteY4" fmla="*/ 73025 h 3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475" h="336550">
                  <a:moveTo>
                    <a:pt x="0" y="73025"/>
                  </a:moveTo>
                  <a:lnTo>
                    <a:pt x="962025" y="0"/>
                  </a:lnTo>
                  <a:lnTo>
                    <a:pt x="1895475" y="101600"/>
                  </a:lnTo>
                  <a:lnTo>
                    <a:pt x="946150" y="336550"/>
                  </a:lnTo>
                  <a:lnTo>
                    <a:pt x="0" y="730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1" name="Rectangle 4">
              <a:extLst>
                <a:ext uri="{FF2B5EF4-FFF2-40B4-BE49-F238E27FC236}">
                  <a16:creationId xmlns:a16="http://schemas.microsoft.com/office/drawing/2014/main" id="{20C19BFB-A160-F938-DD3E-8150E2861593}"/>
                </a:ext>
              </a:extLst>
            </p:cNvPr>
            <p:cNvSpPr/>
            <p:nvPr/>
          </p:nvSpPr>
          <p:spPr>
            <a:xfrm>
              <a:off x="3030223" y="3047993"/>
              <a:ext cx="1304723" cy="660562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6947" h="666750">
                  <a:moveTo>
                    <a:pt x="3175" y="114300"/>
                  </a:moveTo>
                  <a:lnTo>
                    <a:pt x="964522" y="0"/>
                  </a:lnTo>
                  <a:lnTo>
                    <a:pt x="1316947" y="438150"/>
                  </a:lnTo>
                  <a:lnTo>
                    <a:pt x="0" y="666750"/>
                  </a:lnTo>
                  <a:cubicBezTo>
                    <a:pt x="1058" y="482600"/>
                    <a:pt x="2117" y="298450"/>
                    <a:pt x="3175" y="11430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2" name="Rectangle 4">
              <a:extLst>
                <a:ext uri="{FF2B5EF4-FFF2-40B4-BE49-F238E27FC236}">
                  <a16:creationId xmlns:a16="http://schemas.microsoft.com/office/drawing/2014/main" id="{D0D1DE4E-6727-41A2-B1E6-6C56A0CD439A}"/>
                </a:ext>
              </a:extLst>
            </p:cNvPr>
            <p:cNvSpPr/>
            <p:nvPr/>
          </p:nvSpPr>
          <p:spPr>
            <a:xfrm flipH="1">
              <a:off x="1746177" y="3022829"/>
              <a:ext cx="1296629" cy="685726"/>
            </a:xfrm>
            <a:custGeom>
              <a:avLst/>
              <a:gdLst>
                <a:gd name="connsiteX0" fmla="*/ 0 w 1088347"/>
                <a:gd name="connsiteY0" fmla="*/ 0 h 530225"/>
                <a:gd name="connsiteX1" fmla="*/ 1088347 w 1088347"/>
                <a:gd name="connsiteY1" fmla="*/ 0 h 530225"/>
                <a:gd name="connsiteX2" fmla="*/ 1088347 w 1088347"/>
                <a:gd name="connsiteY2" fmla="*/ 530225 h 530225"/>
                <a:gd name="connsiteX3" fmla="*/ 0 w 1088347"/>
                <a:gd name="connsiteY3" fmla="*/ 530225 h 530225"/>
                <a:gd name="connsiteX4" fmla="*/ 0 w 1088347"/>
                <a:gd name="connsiteY4" fmla="*/ 0 h 530225"/>
                <a:gd name="connsiteX0" fmla="*/ 0 w 1088347"/>
                <a:gd name="connsiteY0" fmla="*/ 92075 h 622300"/>
                <a:gd name="connsiteX1" fmla="*/ 916897 w 1088347"/>
                <a:gd name="connsiteY1" fmla="*/ 0 h 622300"/>
                <a:gd name="connsiteX2" fmla="*/ 1088347 w 1088347"/>
                <a:gd name="connsiteY2" fmla="*/ 622300 h 622300"/>
                <a:gd name="connsiteX3" fmla="*/ 0 w 1088347"/>
                <a:gd name="connsiteY3" fmla="*/ 622300 h 622300"/>
                <a:gd name="connsiteX4" fmla="*/ 0 w 1088347"/>
                <a:gd name="connsiteY4" fmla="*/ 92075 h 622300"/>
                <a:gd name="connsiteX0" fmla="*/ 0 w 1275672"/>
                <a:gd name="connsiteY0" fmla="*/ 92075 h 622300"/>
                <a:gd name="connsiteX1" fmla="*/ 916897 w 1275672"/>
                <a:gd name="connsiteY1" fmla="*/ 0 h 622300"/>
                <a:gd name="connsiteX2" fmla="*/ 1275672 w 1275672"/>
                <a:gd name="connsiteY2" fmla="*/ 441325 h 622300"/>
                <a:gd name="connsiteX3" fmla="*/ 0 w 1275672"/>
                <a:gd name="connsiteY3" fmla="*/ 622300 h 622300"/>
                <a:gd name="connsiteX4" fmla="*/ 0 w 1275672"/>
                <a:gd name="connsiteY4" fmla="*/ 92075 h 622300"/>
                <a:gd name="connsiteX0" fmla="*/ 41275 w 1316947"/>
                <a:gd name="connsiteY0" fmla="*/ 9207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41275 w 1316947"/>
                <a:gd name="connsiteY4" fmla="*/ 92075 h 669925"/>
                <a:gd name="connsiteX0" fmla="*/ 22225 w 1316947"/>
                <a:gd name="connsiteY0" fmla="*/ 120650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22225 w 1316947"/>
                <a:gd name="connsiteY4" fmla="*/ 120650 h 669925"/>
                <a:gd name="connsiteX0" fmla="*/ 15875 w 1316947"/>
                <a:gd name="connsiteY0" fmla="*/ 111125 h 669925"/>
                <a:gd name="connsiteX1" fmla="*/ 958172 w 1316947"/>
                <a:gd name="connsiteY1" fmla="*/ 0 h 669925"/>
                <a:gd name="connsiteX2" fmla="*/ 1316947 w 1316947"/>
                <a:gd name="connsiteY2" fmla="*/ 441325 h 669925"/>
                <a:gd name="connsiteX3" fmla="*/ 0 w 1316947"/>
                <a:gd name="connsiteY3" fmla="*/ 669925 h 669925"/>
                <a:gd name="connsiteX4" fmla="*/ 15875 w 1316947"/>
                <a:gd name="connsiteY4" fmla="*/ 111125 h 669925"/>
                <a:gd name="connsiteX0" fmla="*/ 15875 w 1316947"/>
                <a:gd name="connsiteY0" fmla="*/ 10795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15875 w 1316947"/>
                <a:gd name="connsiteY4" fmla="*/ 107950 h 666750"/>
                <a:gd name="connsiteX0" fmla="*/ 3175 w 1316947"/>
                <a:gd name="connsiteY0" fmla="*/ 114300 h 666750"/>
                <a:gd name="connsiteX1" fmla="*/ 964522 w 1316947"/>
                <a:gd name="connsiteY1" fmla="*/ 0 h 666750"/>
                <a:gd name="connsiteX2" fmla="*/ 1316947 w 1316947"/>
                <a:gd name="connsiteY2" fmla="*/ 438150 h 666750"/>
                <a:gd name="connsiteX3" fmla="*/ 0 w 1316947"/>
                <a:gd name="connsiteY3" fmla="*/ 666750 h 666750"/>
                <a:gd name="connsiteX4" fmla="*/ 3175 w 1316947"/>
                <a:gd name="connsiteY4" fmla="*/ 114300 h 666750"/>
                <a:gd name="connsiteX0" fmla="*/ 3175 w 1316947"/>
                <a:gd name="connsiteY0" fmla="*/ 139700 h 692150"/>
                <a:gd name="connsiteX1" fmla="*/ 817351 w 1316947"/>
                <a:gd name="connsiteY1" fmla="*/ 0 h 692150"/>
                <a:gd name="connsiteX2" fmla="*/ 1316947 w 1316947"/>
                <a:gd name="connsiteY2" fmla="*/ 463550 h 692150"/>
                <a:gd name="connsiteX3" fmla="*/ 0 w 1316947"/>
                <a:gd name="connsiteY3" fmla="*/ 692150 h 692150"/>
                <a:gd name="connsiteX4" fmla="*/ 3175 w 1316947"/>
                <a:gd name="connsiteY4" fmla="*/ 139700 h 692150"/>
                <a:gd name="connsiteX0" fmla="*/ 3175 w 840003"/>
                <a:gd name="connsiteY0" fmla="*/ 139700 h 692150"/>
                <a:gd name="connsiteX1" fmla="*/ 817351 w 840003"/>
                <a:gd name="connsiteY1" fmla="*/ 0 h 692150"/>
                <a:gd name="connsiteX2" fmla="*/ 840003 w 840003"/>
                <a:gd name="connsiteY2" fmla="*/ 368300 h 692150"/>
                <a:gd name="connsiteX3" fmla="*/ 0 w 840003"/>
                <a:gd name="connsiteY3" fmla="*/ 692150 h 692150"/>
                <a:gd name="connsiteX4" fmla="*/ 3175 w 840003"/>
                <a:gd name="connsiteY4" fmla="*/ 139700 h 692150"/>
                <a:gd name="connsiteX0" fmla="*/ 3175 w 1123444"/>
                <a:gd name="connsiteY0" fmla="*/ 139700 h 692150"/>
                <a:gd name="connsiteX1" fmla="*/ 817351 w 1123444"/>
                <a:gd name="connsiteY1" fmla="*/ 0 h 692150"/>
                <a:gd name="connsiteX2" fmla="*/ 1123444 w 1123444"/>
                <a:gd name="connsiteY2" fmla="*/ 428625 h 692150"/>
                <a:gd name="connsiteX3" fmla="*/ 0 w 1123444"/>
                <a:gd name="connsiteY3" fmla="*/ 692150 h 692150"/>
                <a:gd name="connsiteX4" fmla="*/ 3175 w 1123444"/>
                <a:gd name="connsiteY4" fmla="*/ 139700 h 69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3444" h="692150">
                  <a:moveTo>
                    <a:pt x="3175" y="139700"/>
                  </a:moveTo>
                  <a:lnTo>
                    <a:pt x="817351" y="0"/>
                  </a:lnTo>
                  <a:lnTo>
                    <a:pt x="1123444" y="428625"/>
                  </a:lnTo>
                  <a:lnTo>
                    <a:pt x="0" y="692150"/>
                  </a:lnTo>
                  <a:cubicBezTo>
                    <a:pt x="1058" y="508000"/>
                    <a:pt x="2117" y="323850"/>
                    <a:pt x="3175" y="13970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3" name="Isosceles Triangle 3">
              <a:extLst>
                <a:ext uri="{FF2B5EF4-FFF2-40B4-BE49-F238E27FC236}">
                  <a16:creationId xmlns:a16="http://schemas.microsoft.com/office/drawing/2014/main" id="{757439E0-FFCD-34AE-DCEB-2790988FFFBB}"/>
                </a:ext>
              </a:extLst>
            </p:cNvPr>
            <p:cNvSpPr/>
            <p:nvPr/>
          </p:nvSpPr>
          <p:spPr>
            <a:xfrm>
              <a:off x="2136739" y="1846769"/>
              <a:ext cx="906067" cy="1235335"/>
            </a:xfrm>
            <a:custGeom>
              <a:avLst/>
              <a:gdLst>
                <a:gd name="connsiteX0" fmla="*/ 0 w 697570"/>
                <a:gd name="connsiteY0" fmla="*/ 1163782 h 1163782"/>
                <a:gd name="connsiteX1" fmla="*/ 348785 w 697570"/>
                <a:gd name="connsiteY1" fmla="*/ 0 h 1163782"/>
                <a:gd name="connsiteX2" fmla="*/ 697570 w 697570"/>
                <a:gd name="connsiteY2" fmla="*/ 1163782 h 1163782"/>
                <a:gd name="connsiteX3" fmla="*/ 0 w 697570"/>
                <a:gd name="connsiteY3" fmla="*/ 1163782 h 1163782"/>
                <a:gd name="connsiteX0" fmla="*/ 0 w 863824"/>
                <a:gd name="connsiteY0" fmla="*/ 1151907 h 1163782"/>
                <a:gd name="connsiteX1" fmla="*/ 515039 w 863824"/>
                <a:gd name="connsiteY1" fmla="*/ 0 h 1163782"/>
                <a:gd name="connsiteX2" fmla="*/ 863824 w 863824"/>
                <a:gd name="connsiteY2" fmla="*/ 1163782 h 1163782"/>
                <a:gd name="connsiteX3" fmla="*/ 0 w 863824"/>
                <a:gd name="connsiteY3" fmla="*/ 1151907 h 1163782"/>
                <a:gd name="connsiteX0" fmla="*/ 0 w 911325"/>
                <a:gd name="connsiteY0" fmla="*/ 1151907 h 1258785"/>
                <a:gd name="connsiteX1" fmla="*/ 515039 w 911325"/>
                <a:gd name="connsiteY1" fmla="*/ 0 h 1258785"/>
                <a:gd name="connsiteX2" fmla="*/ 911325 w 911325"/>
                <a:gd name="connsiteY2" fmla="*/ 1258785 h 1258785"/>
                <a:gd name="connsiteX3" fmla="*/ 0 w 911325"/>
                <a:gd name="connsiteY3" fmla="*/ 1151907 h 1258785"/>
                <a:gd name="connsiteX0" fmla="*/ 0 w 911325"/>
                <a:gd name="connsiteY0" fmla="*/ 1140031 h 1246909"/>
                <a:gd name="connsiteX1" fmla="*/ 871298 w 911325"/>
                <a:gd name="connsiteY1" fmla="*/ 0 h 1246909"/>
                <a:gd name="connsiteX2" fmla="*/ 911325 w 911325"/>
                <a:gd name="connsiteY2" fmla="*/ 1246909 h 1246909"/>
                <a:gd name="connsiteX3" fmla="*/ 0 w 911325"/>
                <a:gd name="connsiteY3" fmla="*/ 1140031 h 1246909"/>
                <a:gd name="connsiteX0" fmla="*/ 0 w 943131"/>
                <a:gd name="connsiteY0" fmla="*/ 1124128 h 1246909"/>
                <a:gd name="connsiteX1" fmla="*/ 903104 w 943131"/>
                <a:gd name="connsiteY1" fmla="*/ 0 h 1246909"/>
                <a:gd name="connsiteX2" fmla="*/ 943131 w 943131"/>
                <a:gd name="connsiteY2" fmla="*/ 1246909 h 1246909"/>
                <a:gd name="connsiteX3" fmla="*/ 0 w 943131"/>
                <a:gd name="connsiteY3" fmla="*/ 1124128 h 1246909"/>
                <a:gd name="connsiteX0" fmla="*/ 0 w 914556"/>
                <a:gd name="connsiteY0" fmla="*/ 1124128 h 1246909"/>
                <a:gd name="connsiteX1" fmla="*/ 903104 w 914556"/>
                <a:gd name="connsiteY1" fmla="*/ 0 h 1246909"/>
                <a:gd name="connsiteX2" fmla="*/ 914556 w 914556"/>
                <a:gd name="connsiteY2" fmla="*/ 1246909 h 1246909"/>
                <a:gd name="connsiteX3" fmla="*/ 0 w 914556"/>
                <a:gd name="connsiteY3" fmla="*/ 1124128 h 1246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556" h="1246909">
                  <a:moveTo>
                    <a:pt x="0" y="1124128"/>
                  </a:moveTo>
                  <a:lnTo>
                    <a:pt x="903104" y="0"/>
                  </a:lnTo>
                  <a:lnTo>
                    <a:pt x="914556" y="1246909"/>
                  </a:lnTo>
                  <a:lnTo>
                    <a:pt x="0" y="1124128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4" name="Isosceles Triangle 3">
              <a:extLst>
                <a:ext uri="{FF2B5EF4-FFF2-40B4-BE49-F238E27FC236}">
                  <a16:creationId xmlns:a16="http://schemas.microsoft.com/office/drawing/2014/main" id="{4E26E81C-C855-0712-4FC6-C3217AD5AE80}"/>
                </a:ext>
              </a:extLst>
            </p:cNvPr>
            <p:cNvSpPr/>
            <p:nvPr/>
          </p:nvSpPr>
          <p:spPr>
            <a:xfrm>
              <a:off x="3030290" y="1853258"/>
              <a:ext cx="945486" cy="1225483"/>
            </a:xfrm>
            <a:custGeom>
              <a:avLst/>
              <a:gdLst>
                <a:gd name="connsiteX0" fmla="*/ 0 w 697570"/>
                <a:gd name="connsiteY0" fmla="*/ 1163782 h 1163782"/>
                <a:gd name="connsiteX1" fmla="*/ 348785 w 697570"/>
                <a:gd name="connsiteY1" fmla="*/ 0 h 1163782"/>
                <a:gd name="connsiteX2" fmla="*/ 697570 w 697570"/>
                <a:gd name="connsiteY2" fmla="*/ 1163782 h 1163782"/>
                <a:gd name="connsiteX3" fmla="*/ 0 w 697570"/>
                <a:gd name="connsiteY3" fmla="*/ 1163782 h 1163782"/>
                <a:gd name="connsiteX0" fmla="*/ 0 w 863824"/>
                <a:gd name="connsiteY0" fmla="*/ 1151907 h 1163782"/>
                <a:gd name="connsiteX1" fmla="*/ 515039 w 863824"/>
                <a:gd name="connsiteY1" fmla="*/ 0 h 1163782"/>
                <a:gd name="connsiteX2" fmla="*/ 863824 w 863824"/>
                <a:gd name="connsiteY2" fmla="*/ 1163782 h 1163782"/>
                <a:gd name="connsiteX3" fmla="*/ 0 w 863824"/>
                <a:gd name="connsiteY3" fmla="*/ 1151907 h 1163782"/>
                <a:gd name="connsiteX0" fmla="*/ 0 w 911325"/>
                <a:gd name="connsiteY0" fmla="*/ 1151907 h 1258785"/>
                <a:gd name="connsiteX1" fmla="*/ 515039 w 911325"/>
                <a:gd name="connsiteY1" fmla="*/ 0 h 1258785"/>
                <a:gd name="connsiteX2" fmla="*/ 911325 w 911325"/>
                <a:gd name="connsiteY2" fmla="*/ 1258785 h 1258785"/>
                <a:gd name="connsiteX3" fmla="*/ 0 w 911325"/>
                <a:gd name="connsiteY3" fmla="*/ 1151907 h 1258785"/>
                <a:gd name="connsiteX0" fmla="*/ 0 w 911325"/>
                <a:gd name="connsiteY0" fmla="*/ 1140031 h 1246909"/>
                <a:gd name="connsiteX1" fmla="*/ 871298 w 911325"/>
                <a:gd name="connsiteY1" fmla="*/ 0 h 1246909"/>
                <a:gd name="connsiteX2" fmla="*/ 911325 w 911325"/>
                <a:gd name="connsiteY2" fmla="*/ 1246909 h 1246909"/>
                <a:gd name="connsiteX3" fmla="*/ 0 w 911325"/>
                <a:gd name="connsiteY3" fmla="*/ 1140031 h 1246909"/>
                <a:gd name="connsiteX0" fmla="*/ 0 w 943131"/>
                <a:gd name="connsiteY0" fmla="*/ 1124128 h 1246909"/>
                <a:gd name="connsiteX1" fmla="*/ 903104 w 943131"/>
                <a:gd name="connsiteY1" fmla="*/ 0 h 1246909"/>
                <a:gd name="connsiteX2" fmla="*/ 943131 w 943131"/>
                <a:gd name="connsiteY2" fmla="*/ 1246909 h 1246909"/>
                <a:gd name="connsiteX3" fmla="*/ 0 w 943131"/>
                <a:gd name="connsiteY3" fmla="*/ 1124128 h 1246909"/>
                <a:gd name="connsiteX0" fmla="*/ 146468 w 1089599"/>
                <a:gd name="connsiteY0" fmla="*/ 1307008 h 1429789"/>
                <a:gd name="connsiteX1" fmla="*/ 0 w 1089599"/>
                <a:gd name="connsiteY1" fmla="*/ 0 h 1429789"/>
                <a:gd name="connsiteX2" fmla="*/ 1089599 w 1089599"/>
                <a:gd name="connsiteY2" fmla="*/ 1429789 h 1429789"/>
                <a:gd name="connsiteX3" fmla="*/ 146468 w 1089599"/>
                <a:gd name="connsiteY3" fmla="*/ 1307008 h 1429789"/>
                <a:gd name="connsiteX0" fmla="*/ 11295 w 1089599"/>
                <a:gd name="connsiteY0" fmla="*/ 1195690 h 1429789"/>
                <a:gd name="connsiteX1" fmla="*/ 0 w 1089599"/>
                <a:gd name="connsiteY1" fmla="*/ 0 h 1429789"/>
                <a:gd name="connsiteX2" fmla="*/ 1089599 w 1089599"/>
                <a:gd name="connsiteY2" fmla="*/ 1429789 h 1429789"/>
                <a:gd name="connsiteX3" fmla="*/ 11295 w 1089599"/>
                <a:gd name="connsiteY3" fmla="*/ 1195690 h 1429789"/>
                <a:gd name="connsiteX0" fmla="*/ 11295 w 906719"/>
                <a:gd name="connsiteY0" fmla="*/ 1195690 h 1195690"/>
                <a:gd name="connsiteX1" fmla="*/ 0 w 906719"/>
                <a:gd name="connsiteY1" fmla="*/ 0 h 1195690"/>
                <a:gd name="connsiteX2" fmla="*/ 906719 w 906719"/>
                <a:gd name="connsiteY2" fmla="*/ 1103785 h 1195690"/>
                <a:gd name="connsiteX3" fmla="*/ 11295 w 906719"/>
                <a:gd name="connsiteY3" fmla="*/ 1195690 h 1195690"/>
                <a:gd name="connsiteX0" fmla="*/ 106545 w 906719"/>
                <a:gd name="connsiteY0" fmla="*/ 1208390 h 1208390"/>
                <a:gd name="connsiteX1" fmla="*/ 0 w 906719"/>
                <a:gd name="connsiteY1" fmla="*/ 0 h 1208390"/>
                <a:gd name="connsiteX2" fmla="*/ 906719 w 906719"/>
                <a:gd name="connsiteY2" fmla="*/ 1103785 h 1208390"/>
                <a:gd name="connsiteX3" fmla="*/ 106545 w 906719"/>
                <a:gd name="connsiteY3" fmla="*/ 1208390 h 1208390"/>
                <a:gd name="connsiteX0" fmla="*/ 17645 w 906719"/>
                <a:gd name="connsiteY0" fmla="*/ 1214740 h 1214740"/>
                <a:gd name="connsiteX1" fmla="*/ 0 w 906719"/>
                <a:gd name="connsiteY1" fmla="*/ 0 h 1214740"/>
                <a:gd name="connsiteX2" fmla="*/ 906719 w 906719"/>
                <a:gd name="connsiteY2" fmla="*/ 1103785 h 1214740"/>
                <a:gd name="connsiteX3" fmla="*/ 17645 w 906719"/>
                <a:gd name="connsiteY3" fmla="*/ 1214740 h 1214740"/>
                <a:gd name="connsiteX0" fmla="*/ 17645 w 938469"/>
                <a:gd name="connsiteY0" fmla="*/ 1214740 h 1214740"/>
                <a:gd name="connsiteX1" fmla="*/ 0 w 938469"/>
                <a:gd name="connsiteY1" fmla="*/ 0 h 1214740"/>
                <a:gd name="connsiteX2" fmla="*/ 938469 w 938469"/>
                <a:gd name="connsiteY2" fmla="*/ 1129185 h 1214740"/>
                <a:gd name="connsiteX3" fmla="*/ 17645 w 938469"/>
                <a:gd name="connsiteY3" fmla="*/ 1214740 h 1214740"/>
                <a:gd name="connsiteX0" fmla="*/ 36695 w 957519"/>
                <a:gd name="connsiteY0" fmla="*/ 1227440 h 1227440"/>
                <a:gd name="connsiteX1" fmla="*/ 0 w 957519"/>
                <a:gd name="connsiteY1" fmla="*/ 0 h 1227440"/>
                <a:gd name="connsiteX2" fmla="*/ 957519 w 957519"/>
                <a:gd name="connsiteY2" fmla="*/ 1141885 h 1227440"/>
                <a:gd name="connsiteX3" fmla="*/ 36695 w 957519"/>
                <a:gd name="connsiteY3" fmla="*/ 1227440 h 1227440"/>
                <a:gd name="connsiteX0" fmla="*/ 306570 w 957519"/>
                <a:gd name="connsiteY0" fmla="*/ 1081390 h 1141885"/>
                <a:gd name="connsiteX1" fmla="*/ 0 w 957519"/>
                <a:gd name="connsiteY1" fmla="*/ 0 h 1141885"/>
                <a:gd name="connsiteX2" fmla="*/ 957519 w 957519"/>
                <a:gd name="connsiteY2" fmla="*/ 1141885 h 1141885"/>
                <a:gd name="connsiteX3" fmla="*/ 306570 w 957519"/>
                <a:gd name="connsiteY3" fmla="*/ 1081390 h 1141885"/>
                <a:gd name="connsiteX0" fmla="*/ 39870 w 957519"/>
                <a:gd name="connsiteY0" fmla="*/ 1236965 h 1236965"/>
                <a:gd name="connsiteX1" fmla="*/ 0 w 957519"/>
                <a:gd name="connsiteY1" fmla="*/ 0 h 1236965"/>
                <a:gd name="connsiteX2" fmla="*/ 957519 w 957519"/>
                <a:gd name="connsiteY2" fmla="*/ 1141885 h 1236965"/>
                <a:gd name="connsiteX3" fmla="*/ 39870 w 957519"/>
                <a:gd name="connsiteY3" fmla="*/ 1236965 h 1236965"/>
                <a:gd name="connsiteX0" fmla="*/ 0 w 917649"/>
                <a:gd name="connsiteY0" fmla="*/ 1214740 h 1214740"/>
                <a:gd name="connsiteX1" fmla="*/ 398280 w 917649"/>
                <a:gd name="connsiteY1" fmla="*/ 0 h 1214740"/>
                <a:gd name="connsiteX2" fmla="*/ 917649 w 917649"/>
                <a:gd name="connsiteY2" fmla="*/ 1119660 h 1214740"/>
                <a:gd name="connsiteX3" fmla="*/ 0 w 917649"/>
                <a:gd name="connsiteY3" fmla="*/ 1214740 h 1214740"/>
                <a:gd name="connsiteX0" fmla="*/ 0 w 917649"/>
                <a:gd name="connsiteY0" fmla="*/ 973440 h 973440"/>
                <a:gd name="connsiteX1" fmla="*/ 77605 w 917649"/>
                <a:gd name="connsiteY1" fmla="*/ 0 h 973440"/>
                <a:gd name="connsiteX2" fmla="*/ 917649 w 917649"/>
                <a:gd name="connsiteY2" fmla="*/ 878360 h 973440"/>
                <a:gd name="connsiteX3" fmla="*/ 0 w 917649"/>
                <a:gd name="connsiteY3" fmla="*/ 973440 h 973440"/>
                <a:gd name="connsiteX0" fmla="*/ 36695 w 954344"/>
                <a:gd name="connsiteY0" fmla="*/ 1240140 h 1240140"/>
                <a:gd name="connsiteX1" fmla="*/ 0 w 954344"/>
                <a:gd name="connsiteY1" fmla="*/ 0 h 1240140"/>
                <a:gd name="connsiteX2" fmla="*/ 954344 w 954344"/>
                <a:gd name="connsiteY2" fmla="*/ 1145060 h 1240140"/>
                <a:gd name="connsiteX3" fmla="*/ 36695 w 954344"/>
                <a:gd name="connsiteY3" fmla="*/ 1240140 h 1240140"/>
                <a:gd name="connsiteX0" fmla="*/ 8120 w 954344"/>
                <a:gd name="connsiteY0" fmla="*/ 1236965 h 1236965"/>
                <a:gd name="connsiteX1" fmla="*/ 0 w 954344"/>
                <a:gd name="connsiteY1" fmla="*/ 0 h 1236965"/>
                <a:gd name="connsiteX2" fmla="*/ 954344 w 954344"/>
                <a:gd name="connsiteY2" fmla="*/ 1145060 h 1236965"/>
                <a:gd name="connsiteX3" fmla="*/ 8120 w 954344"/>
                <a:gd name="connsiteY3" fmla="*/ 1236965 h 123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344" h="1236965">
                  <a:moveTo>
                    <a:pt x="8120" y="1236965"/>
                  </a:moveTo>
                  <a:cubicBezTo>
                    <a:pt x="5413" y="824643"/>
                    <a:pt x="2707" y="412322"/>
                    <a:pt x="0" y="0"/>
                  </a:cubicBezTo>
                  <a:lnTo>
                    <a:pt x="954344" y="1145060"/>
                  </a:lnTo>
                  <a:lnTo>
                    <a:pt x="8120" y="123696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7" name="Group 106">
            <a:extLst>
              <a:ext uri="{FF2B5EF4-FFF2-40B4-BE49-F238E27FC236}">
                <a16:creationId xmlns:a16="http://schemas.microsoft.com/office/drawing/2014/main" id="{06FA3F10-E5A0-59B5-32F2-2ED2C7F7F035}"/>
              </a:ext>
            </a:extLst>
          </p:cNvPr>
          <p:cNvGrpSpPr/>
          <p:nvPr/>
        </p:nvGrpSpPr>
        <p:grpSpPr>
          <a:xfrm>
            <a:off x="5416431" y="2537024"/>
            <a:ext cx="5316492" cy="2272845"/>
            <a:chOff x="5336112" y="3064254"/>
            <a:chExt cx="3282277" cy="206877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DB6F444-36CF-4968-7FA0-7AEA556A5EB7}"/>
                </a:ext>
              </a:extLst>
            </p:cNvPr>
            <p:cNvCxnSpPr/>
            <p:nvPr/>
          </p:nvCxnSpPr>
          <p:spPr>
            <a:xfrm flipH="1">
              <a:off x="5336112" y="3064254"/>
              <a:ext cx="3282276" cy="58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BF130F9-60C0-36AA-A529-E2499D1BF3A0}"/>
                </a:ext>
              </a:extLst>
            </p:cNvPr>
            <p:cNvCxnSpPr/>
            <p:nvPr/>
          </p:nvCxnSpPr>
          <p:spPr>
            <a:xfrm flipH="1">
              <a:off x="5664346" y="3577476"/>
              <a:ext cx="295404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1076F820-923E-977A-1FD2-8F9159F63D09}"/>
                </a:ext>
              </a:extLst>
            </p:cNvPr>
            <p:cNvCxnSpPr/>
            <p:nvPr/>
          </p:nvCxnSpPr>
          <p:spPr>
            <a:xfrm flipH="1">
              <a:off x="6058414" y="4116429"/>
              <a:ext cx="255997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AAA5E99-E59C-B9DF-E1F8-E639AA9D04E1}"/>
                </a:ext>
              </a:extLst>
            </p:cNvPr>
            <p:cNvCxnSpPr/>
            <p:nvPr/>
          </p:nvCxnSpPr>
          <p:spPr>
            <a:xfrm flipH="1">
              <a:off x="6510752" y="4564255"/>
              <a:ext cx="2107636" cy="58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CE0A305-6080-2107-8E3F-09907AED87E9}"/>
                </a:ext>
              </a:extLst>
            </p:cNvPr>
            <p:cNvCxnSpPr/>
            <p:nvPr/>
          </p:nvCxnSpPr>
          <p:spPr>
            <a:xfrm flipH="1">
              <a:off x="6922740" y="5112733"/>
              <a:ext cx="1695648" cy="2029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F9A243C-38AF-25F2-EA53-98F2E7B1B034}"/>
              </a:ext>
            </a:extLst>
          </p:cNvPr>
          <p:cNvSpPr txBox="1"/>
          <p:nvPr/>
        </p:nvSpPr>
        <p:spPr>
          <a:xfrm>
            <a:off x="6735851" y="2066663"/>
            <a:ext cx="41813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TEXT </a:t>
            </a:r>
          </a:p>
          <a:p>
            <a:pPr algn="r"/>
            <a:r>
              <a:rPr lang="en-US" sz="1000" dirty="0"/>
              <a:t>This is an example text. You can edit it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152A30-E098-C5AF-0F38-4683B6E5F8A8}"/>
              </a:ext>
            </a:extLst>
          </p:cNvPr>
          <p:cNvSpPr txBox="1"/>
          <p:nvPr/>
        </p:nvSpPr>
        <p:spPr>
          <a:xfrm>
            <a:off x="6105558" y="2637926"/>
            <a:ext cx="4811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TEXT</a:t>
            </a:r>
          </a:p>
          <a:p>
            <a:pPr algn="r"/>
            <a:r>
              <a:rPr lang="en-US" sz="1000" dirty="0"/>
              <a:t>This is an example text. You can edit it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FE72C4-3749-0949-977D-44FBA78BEB76}"/>
              </a:ext>
            </a:extLst>
          </p:cNvPr>
          <p:cNvSpPr txBox="1"/>
          <p:nvPr/>
        </p:nvSpPr>
        <p:spPr>
          <a:xfrm>
            <a:off x="6105558" y="3052829"/>
            <a:ext cx="4811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TEXT</a:t>
            </a:r>
          </a:p>
          <a:p>
            <a:pPr algn="r"/>
            <a:r>
              <a:rPr lang="en-US" sz="1000" dirty="0"/>
              <a:t>This is an example text. You can edit i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58BE3C-8E86-63C8-72E3-2ED2B6BAB71D}"/>
              </a:ext>
            </a:extLst>
          </p:cNvPr>
          <p:cNvSpPr txBox="1"/>
          <p:nvPr/>
        </p:nvSpPr>
        <p:spPr>
          <a:xfrm>
            <a:off x="6105558" y="3717658"/>
            <a:ext cx="4811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TEXT</a:t>
            </a:r>
          </a:p>
          <a:p>
            <a:pPr algn="r"/>
            <a:r>
              <a:rPr lang="en-US" sz="1000" dirty="0"/>
              <a:t>This is an example text. You can edit it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DC5A74-E574-A3A5-4F8A-220210E59E65}"/>
              </a:ext>
            </a:extLst>
          </p:cNvPr>
          <p:cNvSpPr txBox="1"/>
          <p:nvPr/>
        </p:nvSpPr>
        <p:spPr>
          <a:xfrm>
            <a:off x="6088063" y="4328934"/>
            <a:ext cx="48116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TEXT</a:t>
            </a:r>
          </a:p>
          <a:p>
            <a:pPr algn="r"/>
            <a:r>
              <a:rPr lang="en-US" sz="1000" dirty="0"/>
              <a:t>This is an example text. You can edit it.</a:t>
            </a:r>
          </a:p>
        </p:txBody>
      </p:sp>
    </p:spTree>
    <p:extLst>
      <p:ext uri="{BB962C8B-B14F-4D97-AF65-F5344CB8AC3E}">
        <p14:creationId xmlns:p14="http://schemas.microsoft.com/office/powerpoint/2010/main" val="16081814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3</TotalTime>
  <Words>62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Pyramid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42</cp:revision>
  <dcterms:created xsi:type="dcterms:W3CDTF">2021-03-31T02:49:57Z</dcterms:created>
  <dcterms:modified xsi:type="dcterms:W3CDTF">2025-10-16T11:38:12Z</dcterms:modified>
  <cp:category/>
</cp:coreProperties>
</file>